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  <p:sldMasterId id="2147486866" r:id="rId7"/>
  </p:sldMasterIdLst>
  <p:notesMasterIdLst>
    <p:notesMasterId r:id="rId49"/>
  </p:notesMasterIdLst>
  <p:handoutMasterIdLst>
    <p:handoutMasterId r:id="rId50"/>
  </p:handoutMasterIdLst>
  <p:sldIdLst>
    <p:sldId id="2711" r:id="rId8"/>
    <p:sldId id="2726" r:id="rId9"/>
    <p:sldId id="3313" r:id="rId10"/>
    <p:sldId id="3314" r:id="rId11"/>
    <p:sldId id="3317" r:id="rId12"/>
    <p:sldId id="3315" r:id="rId13"/>
    <p:sldId id="3316" r:id="rId14"/>
    <p:sldId id="3318" r:id="rId15"/>
    <p:sldId id="2715" r:id="rId16"/>
    <p:sldId id="3320" r:id="rId17"/>
    <p:sldId id="3321" r:id="rId18"/>
    <p:sldId id="3322" r:id="rId19"/>
    <p:sldId id="2717" r:id="rId20"/>
    <p:sldId id="3323" r:id="rId21"/>
    <p:sldId id="3324" r:id="rId22"/>
    <p:sldId id="3342" r:id="rId23"/>
    <p:sldId id="3343" r:id="rId24"/>
    <p:sldId id="3344" r:id="rId25"/>
    <p:sldId id="3345" r:id="rId26"/>
    <p:sldId id="3346" r:id="rId27"/>
    <p:sldId id="3347" r:id="rId28"/>
    <p:sldId id="2724" r:id="rId29"/>
    <p:sldId id="3348" r:id="rId30"/>
    <p:sldId id="2720" r:id="rId31"/>
    <p:sldId id="2710" r:id="rId32"/>
    <p:sldId id="3334" r:id="rId33"/>
    <p:sldId id="3332" r:id="rId34"/>
    <p:sldId id="3339" r:id="rId35"/>
    <p:sldId id="3335" r:id="rId36"/>
    <p:sldId id="3336" r:id="rId37"/>
    <p:sldId id="3337" r:id="rId38"/>
    <p:sldId id="3338" r:id="rId39"/>
    <p:sldId id="3333" r:id="rId40"/>
    <p:sldId id="3340" r:id="rId41"/>
    <p:sldId id="3341" r:id="rId42"/>
    <p:sldId id="3331" r:id="rId43"/>
    <p:sldId id="3330" r:id="rId44"/>
    <p:sldId id="3329" r:id="rId45"/>
    <p:sldId id="3328" r:id="rId46"/>
    <p:sldId id="3327" r:id="rId47"/>
    <p:sldId id="2683" r:id="rId48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9E383"/>
    <a:srgbClr val="BA3A3B"/>
    <a:srgbClr val="FC6E51"/>
    <a:srgbClr val="FF9B08"/>
    <a:srgbClr val="FFC000"/>
    <a:srgbClr val="FF9933"/>
    <a:srgbClr val="F6EF5E"/>
    <a:srgbClr val="0066FF"/>
    <a:srgbClr val="FF3300"/>
    <a:srgbClr val="FFF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2" autoAdjust="0"/>
    <p:restoredTop sz="81507" autoAdjust="0"/>
  </p:normalViewPr>
  <p:slideViewPr>
    <p:cSldViewPr>
      <p:cViewPr varScale="1">
        <p:scale>
          <a:sx n="83" d="100"/>
          <a:sy n="83" d="100"/>
        </p:scale>
        <p:origin x="296" y="27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-1924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microsoft.com/office/2016/11/relationships/changesInfo" Target="changesInfos/changesInfo1.xml"/><Relationship Id="rId8" Type="http://schemas.openxmlformats.org/officeDocument/2006/relationships/slide" Target="slides/slide1.xml"/><Relationship Id="rId51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notesMaster" Target="notesMasters/notesMaster1.xml"/><Relationship Id="rId57" Type="http://schemas.microsoft.com/office/2015/10/relationships/revisionInfo" Target="revisionInfo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6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9389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7270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2323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662514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53861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61608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71333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53437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198432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7301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Затем на основании этих</a:t>
            </a:r>
            <a:r>
              <a:rPr lang="ru-RU" baseline="0" dirty="0"/>
              <a:t> данных можно сформировать различные аналитические отчёты. </a:t>
            </a:r>
            <a:r>
              <a:rPr lang="ru-RU" baseline="0"/>
              <a:t>Например Анализ рисков или Матрица рисков.</a:t>
            </a:r>
            <a:endParaRPr lang="ru-RU"/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23900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18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60419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FAD01E6-1AFB-45B2-9EF5-432CFF32D291}" type="slidenum">
              <a:rPr lang="en-US" altLang="en-US" sz="1300">
                <a:cs typeface="Arial" panose="020B0604020202020204" pitchFamily="34" charset="0"/>
              </a:rPr>
              <a:pPr/>
              <a:t>29</a:t>
            </a:fld>
            <a:endParaRPr lang="en-US" altLang="en-US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22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717383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2466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62467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A31130C-D30D-4AF7-9A0C-85FF4F3267CE}" type="slidenum">
              <a:rPr lang="en-US" altLang="en-US" sz="1300">
                <a:cs typeface="Arial" panose="020B0604020202020204" pitchFamily="34" charset="0"/>
              </a:rPr>
              <a:pPr/>
              <a:t>30</a:t>
            </a:fld>
            <a:endParaRPr lang="en-US" altLang="en-US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9335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4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64515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72D2FC6-AC42-4DE7-9D66-021DAF50B0CB}" type="slidenum">
              <a:rPr lang="en-US" altLang="en-US" sz="1300">
                <a:cs typeface="Arial" panose="020B0604020202020204" pitchFamily="34" charset="0"/>
              </a:rPr>
              <a:pPr/>
              <a:t>31</a:t>
            </a:fld>
            <a:endParaRPr lang="en-US" altLang="en-US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9885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2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66563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E7AD808-615C-4476-A612-0510B52F9E62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32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3080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8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75779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85523E2-9DBA-4E3B-938E-4FA38D2100B1}" type="slidenum">
              <a:rPr lang="en-US" altLang="en-US" sz="1300">
                <a:cs typeface="Arial" panose="020B0604020202020204" pitchFamily="34" charset="0"/>
              </a:rPr>
              <a:pPr/>
              <a:t>33</a:t>
            </a:fld>
            <a:endParaRPr lang="en-US" altLang="en-US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95306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4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69635" name="Slide Number Placeholder 3"/>
          <p:cNvSpPr txBox="1">
            <a:spLocks noGrp="1" noChangeArrowheads="1"/>
          </p:cNvSpPr>
          <p:nvPr/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9EA75561-4447-43C0-AD9C-8A9AFDF7D1D1}" type="slidenum">
              <a:rPr lang="en-US" altLang="en-US" sz="1300">
                <a:solidFill>
                  <a:srgbClr val="000000"/>
                </a:solidFill>
              </a:rPr>
              <a:pPr algn="r"/>
              <a:t>34</a:t>
            </a:fld>
            <a:endParaRPr lang="en-US" alt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4975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2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71683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7C8D89C-81E8-4B86-BBC2-ECCA4800D29F}" type="slidenum">
              <a:rPr lang="en-US" altLang="en-US" sz="1300">
                <a:solidFill>
                  <a:srgbClr val="000000"/>
                </a:solidFill>
                <a:cs typeface="Arial" panose="020B0604020202020204" pitchFamily="34" charset="0"/>
              </a:rPr>
              <a:pPr/>
              <a:t>35</a:t>
            </a:fld>
            <a:endParaRPr lang="en-US" altLang="en-US" sz="13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8675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0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78851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B065C42-FE3E-4BD6-8375-9DB9185955E0}" type="slidenum">
              <a:rPr lang="ru-RU" altLang="ru-RU" sz="1200">
                <a:latin typeface="Times New Roman" panose="02020603050405020304" pitchFamily="18" charset="0"/>
              </a:rPr>
              <a:pPr/>
              <a:t>36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27668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898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/>
          </a:p>
        </p:txBody>
      </p:sp>
      <p:sp>
        <p:nvSpPr>
          <p:cNvPr id="80899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8D43419-29DD-413B-8A23-500E7E55DCC1}" type="slidenum">
              <a:rPr lang="en-US" altLang="en-US" sz="1300">
                <a:solidFill>
                  <a:srgbClr val="000000"/>
                </a:solidFill>
                <a:cs typeface="Arial" panose="020B0604020202020204" pitchFamily="34" charset="0"/>
              </a:rPr>
              <a:pPr/>
              <a:t>37</a:t>
            </a:fld>
            <a:endParaRPr lang="en-US" altLang="en-US" sz="13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5420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8038" y="355600"/>
            <a:ext cx="2444750" cy="1376363"/>
          </a:xfrm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xfrm>
            <a:off x="3175" y="2011363"/>
            <a:ext cx="6797675" cy="7272337"/>
          </a:xfrm>
          <a:ln/>
        </p:spPr>
        <p:txBody>
          <a:bodyPr/>
          <a:lstStyle/>
          <a:p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Процесс по управлению обязательствами в системе можно условно разделить на четыре взаимосвязанных функциональных блока, каждый из которых содержит набор инструментов помогающих пользователям принимать правильные своевременные решения и обеспечить исполнение обязательства  в процессе исполнения, а также минимизировать затраты в сложных ситуациях. </a:t>
            </a:r>
          </a:p>
          <a:p>
            <a:pPr>
              <a:buFontTx/>
              <a:buAutoNum type="arabicParenR"/>
            </a:pP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Один самых важных функциональных блоков – это разработка коммерческой политики по управлению обязательствами. Он содержит инструменты, которые помогают описать типовые условия по работе с контрагентами в зависимости от классификации контрагентов. Классифицировать контрагентов по степени доходности и уровням риска. То есть описать ключевые параметры каждого вида обязательств, которые будут использованы при подготовке и заключению контрактов. </a:t>
            </a:r>
          </a:p>
          <a:p>
            <a:pPr>
              <a:buFontTx/>
              <a:buAutoNum type="arabicParenR"/>
            </a:pP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Второй функциональный блок </a:t>
            </a:r>
            <a:r>
              <a:rPr lang="ru-RU" altLang="ru-RU" sz="1400" b="1">
                <a:latin typeface="Arial" panose="020B0604020202020204" pitchFamily="34" charset="0"/>
                <a:cs typeface="Arial" panose="020B0604020202020204" pitchFamily="34" charset="0"/>
              </a:rPr>
              <a:t>Контрактация</a:t>
            </a: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. Именно в момент контрактации наш базовый набор коммерческой политики становится индивидуальным, уточняется и расширяется. Мы описываем требования к нашим поставщикам, условиям поставки, характеристикам, прописываем гарантийные обязательства, страхуемся от возможных рисков.  Заключение контракта – это последний рубеж, соблюсти свои интересы. Далее имеем то, что имеем.</a:t>
            </a:r>
          </a:p>
          <a:p>
            <a:pPr>
              <a:buFontTx/>
              <a:buAutoNum type="arabicParenR"/>
            </a:pP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Можно заложить отличные условия контракта, но среди тысячи контрактов и текущей загруженности пропустить момент нарушения обязательств. Причем преимущественно это происходит не специально. Происходит как с нашей стороны, так и со стороны наших партнеров. Забыли, не успели, не так оформили документы, не учли сроки доставки итд. Блок по управлению предупреждений представлен автоматизированным рабочим местом помогающим своевременно обнаружить отклонения, оповестить ответственного о приближающемся действии, которое нужно совершить, проконтролировать правильность и сроки. </a:t>
            </a:r>
          </a:p>
          <a:p>
            <a:pPr>
              <a:buFontTx/>
              <a:buAutoNum type="arabicParenR"/>
            </a:pP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И последний функциональный блок помогает отработать произошедшее нарушение. Остановить платежи, инициировать претензионно-исковую работу, спрогнозировать изменения в бюджетах. </a:t>
            </a:r>
          </a:p>
        </p:txBody>
      </p:sp>
      <p:sp>
        <p:nvSpPr>
          <p:cNvPr id="8397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0A5E539-E693-4CF6-AB12-278567AE27D1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39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7620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18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/>
              <a:t>Валютный риск</a:t>
            </a:r>
          </a:p>
          <a:p>
            <a:r>
              <a:rPr lang="ru-RU" altLang="ru-RU" dirty="0"/>
              <a:t>Размещение или привлечение займов, кредитов с плав ставкой или облигациях с плавающим купоном</a:t>
            </a:r>
          </a:p>
        </p:txBody>
      </p:sp>
      <p:sp>
        <p:nvSpPr>
          <p:cNvPr id="86019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DBFA307-1D6C-4313-BEE8-E9DD471C6400}" type="slidenum">
              <a:rPr lang="ru-RU" altLang="ru-RU" sz="1200">
                <a:latin typeface="Times New Roman" panose="02020603050405020304" pitchFamily="18" charset="0"/>
              </a:rPr>
              <a:pPr/>
              <a:t>40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062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99051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6535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44336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05017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598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32317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егистрация рисков</a:t>
            </a:r>
            <a:r>
              <a:rPr lang="ru-RU" baseline="0" dirty="0"/>
              <a:t> для целей исполнения 518 приказа была расширена реквизитами для заполнения регламентированных отчётов.</a:t>
            </a:r>
          </a:p>
          <a:p>
            <a:r>
              <a:rPr lang="ru-RU" baseline="0" dirty="0"/>
              <a:t>Аналогично реквизитный состав расширен и в контрольных процедурах и мероприят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8480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гл) 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290233" y="313515"/>
            <a:ext cx="5761038" cy="561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 err="1">
                <a:solidFill>
                  <a:srgbClr val="FFFFFF"/>
                </a:solidFill>
              </a:rPr>
              <a:t>холдингОМ</a:t>
            </a:r>
            <a:r>
              <a:rPr lang="ru-RU" altLang="ru-RU" sz="1795" dirty="0">
                <a:solidFill>
                  <a:srgbClr val="FFFFFF"/>
                </a:solidFill>
              </a:rPr>
              <a:t>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4" y="226507"/>
            <a:ext cx="1224220" cy="723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54974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5463" y="1266907"/>
            <a:ext cx="1125002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CF282-6ACF-4085-9ADF-8D9C1CF6F6E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96790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3"/>
            <a:ext cx="9793764" cy="1287035"/>
          </a:xfrm>
        </p:spPr>
        <p:txBody>
          <a:bodyPr anchor="t"/>
          <a:lstStyle>
            <a:lvl1pPr algn="l">
              <a:defRPr sz="378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81"/>
            <a:ext cx="9793764" cy="1417538"/>
          </a:xfrm>
        </p:spPr>
        <p:txBody>
          <a:bodyPr anchor="b"/>
          <a:lstStyle>
            <a:lvl1pPr marL="0" indent="0">
              <a:buNone/>
              <a:defRPr sz="1890"/>
            </a:lvl1pPr>
            <a:lvl2pPr marL="432008" indent="0">
              <a:buNone/>
              <a:defRPr sz="1701"/>
            </a:lvl2pPr>
            <a:lvl3pPr marL="864017" indent="0">
              <a:buNone/>
              <a:defRPr sz="1512"/>
            </a:lvl3pPr>
            <a:lvl4pPr marL="1296025" indent="0">
              <a:buNone/>
              <a:defRPr sz="1323"/>
            </a:lvl4pPr>
            <a:lvl5pPr marL="1728033" indent="0">
              <a:buNone/>
              <a:defRPr sz="1323"/>
            </a:lvl5pPr>
            <a:lvl6pPr marL="2160041" indent="0">
              <a:buNone/>
              <a:defRPr sz="1323"/>
            </a:lvl6pPr>
            <a:lvl7pPr marL="2592050" indent="0">
              <a:buNone/>
              <a:defRPr sz="1323"/>
            </a:lvl7pPr>
            <a:lvl8pPr marL="3024058" indent="0">
              <a:buNone/>
              <a:defRPr sz="1323"/>
            </a:lvl8pPr>
            <a:lvl9pPr marL="3456066" indent="0">
              <a:buNone/>
              <a:defRPr sz="132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1AD6D-C170-4723-8E2A-5CB32489295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555759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DF1C0-E9A7-4D63-B683-B732CD00ACD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16218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61"/>
            <a:ext cx="5090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65" y="1450540"/>
            <a:ext cx="5092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65" y="2055061"/>
            <a:ext cx="5092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DE855B-D462-4DB8-849E-2ED7BF9A205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868658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5F9BE-5C56-4311-AD10-A070B19D222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050407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EFFB7-3425-4BB7-9578-97524A640E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062462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20" y="258007"/>
            <a:ext cx="3790683" cy="1098030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13"/>
            <a:ext cx="6441160" cy="5530650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20" y="1356043"/>
            <a:ext cx="3790683" cy="44326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086D0-E710-4988-BD15-936AC9A9BF9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59301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8"/>
            <a:ext cx="6913245" cy="535515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21"/>
            <a:ext cx="6913245" cy="3888105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C541F-C761-4DA4-9578-88A4F4CB1C4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249128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07D93-E112-41A4-87BD-150C77AF384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352827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73548" y="-25501"/>
            <a:ext cx="2812507" cy="619066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36031" y="-25501"/>
            <a:ext cx="8245485" cy="619066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529C2D-0D94-4343-BCF3-B049E30A4E1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0933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E0658-938F-4976-80CA-35FB727980A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675119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36024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36024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92B96-2410-4028-ADE9-07991EB55F8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466206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30006" y="6165172"/>
            <a:ext cx="2926186" cy="38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701" b="0" dirty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867" y="297009"/>
            <a:ext cx="6305135" cy="2970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84069" y="1134031"/>
            <a:ext cx="5256947" cy="47176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833050" y="1134030"/>
            <a:ext cx="5256947" cy="2286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833050" y="3564096"/>
            <a:ext cx="5256947" cy="2287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80476-50E6-4D6E-850F-BD69A5C5959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78643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2132400" y="144004"/>
            <a:ext cx="6079095" cy="102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026" y="1288541"/>
            <a:ext cx="11250026" cy="4945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267175"/>
            <a:ext cx="10297855" cy="2385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23">
                <a:solidFill>
                  <a:srgbClr val="5B0917"/>
                </a:solidFill>
              </a:defRPr>
            </a:lvl1pPr>
          </a:lstStyle>
          <a:p>
            <a:pPr eaLnBrk="1" hangingPunct="1">
              <a:defRPr/>
            </a:pPr>
            <a:r>
              <a:rPr lang="ru-RU" altLang="ru-RU" b="0" dirty="0">
                <a:latin typeface="Arial" charset="0"/>
                <a:cs typeface="Arial" charset="0"/>
              </a:rPr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387872" y="6234168"/>
            <a:ext cx="966173" cy="2460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945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4B055D6D-AF42-45FE-8392-2D1D9DED2C91}" type="slidenum">
              <a:rPr lang="ru-RU" altLang="ru-RU"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ru-RU" altLang="ru-RU" dirty="0">
              <a:latin typeface="Arial" charset="0"/>
              <a:cs typeface="Arial" charset="0"/>
            </a:endParaRPr>
          </a:p>
        </p:txBody>
      </p:sp>
      <p:pic>
        <p:nvPicPr>
          <p:cNvPr id="2054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3" y="136504"/>
            <a:ext cx="1952352" cy="115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2422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7" r:id="rId1"/>
    <p:sldLayoutId id="2147486868" r:id="rId2"/>
    <p:sldLayoutId id="2147486869" r:id="rId3"/>
    <p:sldLayoutId id="2147486870" r:id="rId4"/>
    <p:sldLayoutId id="2147486871" r:id="rId5"/>
    <p:sldLayoutId id="2147486872" r:id="rId6"/>
    <p:sldLayoutId id="2147486873" r:id="rId7"/>
    <p:sldLayoutId id="2147486874" r:id="rId8"/>
    <p:sldLayoutId id="2147486875" r:id="rId9"/>
    <p:sldLayoutId id="2147486876" r:id="rId10"/>
    <p:sldLayoutId id="2147486877" r:id="rId11"/>
    <p:sldLayoutId id="2147486878" r:id="rId12"/>
    <p:sldLayoutId id="2147486879" r:id="rId13"/>
    <p:sldLayoutId id="2147486880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5pPr>
      <a:lvl6pPr marL="432008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6pPr>
      <a:lvl7pPr marL="864017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7pPr>
      <a:lvl8pPr marL="1296025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8pPr>
      <a:lvl9pPr marL="1728033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9pPr>
    </p:titleStyle>
    <p:bodyStyle>
      <a:lvl1pPr marL="324006" indent="-324006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079">
          <a:solidFill>
            <a:srgbClr val="5B0917"/>
          </a:solidFill>
          <a:latin typeface="+mn-lt"/>
          <a:ea typeface="+mn-ea"/>
          <a:cs typeface="+mn-cs"/>
        </a:defRPr>
      </a:lvl1pPr>
      <a:lvl2pPr marL="702013" indent="-270005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1890">
          <a:solidFill>
            <a:srgbClr val="5B0917"/>
          </a:solidFill>
          <a:latin typeface="+mn-lt"/>
        </a:defRPr>
      </a:lvl2pPr>
      <a:lvl3pPr marL="1080021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512029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512">
          <a:solidFill>
            <a:srgbClr val="5B0917"/>
          </a:solidFill>
          <a:latin typeface="+mn-lt"/>
        </a:defRPr>
      </a:lvl4pPr>
      <a:lvl5pPr marL="1944037" indent="-21600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5pPr>
      <a:lvl6pPr marL="2376046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6pPr>
      <a:lvl7pPr marL="2808054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7pPr>
      <a:lvl8pPr marL="3240062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8pPr>
      <a:lvl9pPr marL="3672070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4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втоматизация системы внутреннего контроля и управления рисками </a:t>
            </a:r>
            <a:br>
              <a:rPr lang="ru-RU" sz="4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 учетом требований ФНС России для налогового мониторинг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.</a:t>
            </a:r>
            <a:r>
              <a:rPr lang="ru-RU" dirty="0"/>
              <a:t>Управление холдингом</a:t>
            </a:r>
            <a:endParaRPr lang="en-US" dirty="0"/>
          </a:p>
          <a:p>
            <a:r>
              <a:rPr lang="ru-RU" dirty="0"/>
              <a:t>1С:Управление холдингом</a:t>
            </a:r>
            <a:endParaRPr lang="en-US" dirty="0"/>
          </a:p>
          <a:p>
            <a:r>
              <a:rPr lang="ru-RU" dirty="0"/>
              <a:t>1С:Налоговый мониторинг. Бухгалтерия КОРП МСФО</a:t>
            </a:r>
          </a:p>
        </p:txBody>
      </p:sp>
    </p:spTree>
    <p:extLst>
      <p:ext uri="{BB962C8B-B14F-4D97-AF65-F5344CB8AC3E}">
        <p14:creationId xmlns:p14="http://schemas.microsoft.com/office/powerpoint/2010/main" val="3378711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рисков: причины и последствия</a:t>
            </a:r>
            <a:endParaRPr lang="ru-RU" dirty="0"/>
          </a:p>
        </p:txBody>
      </p:sp>
      <p:pic>
        <p:nvPicPr>
          <p:cNvPr id="8" name="Рисунок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573" y="1348829"/>
            <a:ext cx="7978775" cy="4627562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 bwMode="auto">
          <a:xfrm>
            <a:off x="6985248" y="1069429"/>
            <a:ext cx="2578100" cy="152241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Для всех рисков описываются причины и последствия рисков</a:t>
            </a:r>
          </a:p>
        </p:txBody>
      </p:sp>
      <p:sp>
        <p:nvSpPr>
          <p:cNvPr id="10" name="Стрелка вправо 9"/>
          <p:cNvSpPr/>
          <p:nvPr/>
        </p:nvSpPr>
        <p:spPr bwMode="auto">
          <a:xfrm rot="20548203" flipH="1" flipV="1">
            <a:off x="6121648" y="2233066"/>
            <a:ext cx="576262" cy="566738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96564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контрольных процедур</a:t>
            </a:r>
            <a:endParaRPr lang="ru-RU" dirty="0"/>
          </a:p>
        </p:txBody>
      </p:sp>
      <p:pic>
        <p:nvPicPr>
          <p:cNvPr id="8" name="Рисунок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2099" y="1134690"/>
            <a:ext cx="6991350" cy="291465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 bwMode="auto">
          <a:xfrm>
            <a:off x="5977061" y="2592015"/>
            <a:ext cx="3744913" cy="360521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и регистрации риска в документе можно перейти к: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еречню контрольных процедур,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еречню реакций на инциденты,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Настройкам использования шаблонов мероприятий</a:t>
            </a:r>
          </a:p>
        </p:txBody>
      </p:sp>
      <p:sp>
        <p:nvSpPr>
          <p:cNvPr id="10" name="Стрелка вправо 9"/>
          <p:cNvSpPr/>
          <p:nvPr/>
        </p:nvSpPr>
        <p:spPr bwMode="auto">
          <a:xfrm rot="2815231" flipH="1" flipV="1">
            <a:off x="5180930" y="1978446"/>
            <a:ext cx="1006475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 bwMode="auto">
          <a:xfrm rot="5400000" flipH="1" flipV="1">
            <a:off x="7278811" y="1861765"/>
            <a:ext cx="576263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33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846" y="1727919"/>
            <a:ext cx="10315748" cy="17291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контрольных процедур: шаблоны и экземпляры мероприятий</a:t>
            </a:r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2736701" y="3864658"/>
            <a:ext cx="5888038" cy="232886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и регистрации контрольных процедур: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сначала создается </a:t>
            </a:r>
            <a:r>
              <a:rPr kumimoji="0" lang="ru-RU" sz="1800" b="0" i="0" u="sng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шаблон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 мероприятия (контрольной процедуры) 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и далее </a:t>
            </a:r>
            <a:r>
              <a:rPr kumimoji="0" lang="ru-RU" sz="1800" b="0" i="0" u="sng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на его основании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создается </a:t>
            </a:r>
            <a:r>
              <a:rPr kumimoji="0" lang="ru-RU" sz="1800" b="0" i="0" u="sng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экземпляр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 мероприятия (контрольной процедуры). </a:t>
            </a:r>
          </a:p>
        </p:txBody>
      </p:sp>
      <p:sp>
        <p:nvSpPr>
          <p:cNvPr id="9" name="Стрелка вправо 8"/>
          <p:cNvSpPr/>
          <p:nvPr/>
        </p:nvSpPr>
        <p:spPr bwMode="auto">
          <a:xfrm rot="6454728" flipH="1" flipV="1">
            <a:off x="6781125" y="3217623"/>
            <a:ext cx="533400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 bwMode="auto">
          <a:xfrm rot="3829497" flipH="1" flipV="1">
            <a:off x="3405599" y="3186433"/>
            <a:ext cx="577850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986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контрольных процедур: автоматизированные контрольные процедуры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517" y="1243347"/>
            <a:ext cx="9972324" cy="3649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982" y="2375991"/>
            <a:ext cx="5166641" cy="4005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5743102" y="3690970"/>
            <a:ext cx="3744913" cy="2479889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и установке флага «Автоматизированная контрольная процедура» появляется возможность задать расписание выполнения</a:t>
            </a:r>
          </a:p>
        </p:txBody>
      </p:sp>
      <p:sp>
        <p:nvSpPr>
          <p:cNvPr id="8" name="Стрелка вправо 7"/>
          <p:cNvSpPr/>
          <p:nvPr/>
        </p:nvSpPr>
        <p:spPr bwMode="auto">
          <a:xfrm rot="2815231" flipH="1" flipV="1">
            <a:off x="4872388" y="3085783"/>
            <a:ext cx="1006475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777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контрольных процедур: шаблон мероприятия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557" y="1943943"/>
            <a:ext cx="5166641" cy="4005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Скругленный прямоугольник 5"/>
          <p:cNvSpPr/>
          <p:nvPr/>
        </p:nvSpPr>
        <p:spPr bwMode="auto">
          <a:xfrm>
            <a:off x="6499015" y="1948601"/>
            <a:ext cx="3916362" cy="189706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и создании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шаблон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 мероприятия (контрольной процедуры) к рискам, учитываемым в налоговом мониторинге, необходимо указать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флажок «Используется в налоговом мониторинге»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7" name="Стрелка вправо 6"/>
          <p:cNvSpPr/>
          <p:nvPr/>
        </p:nvSpPr>
        <p:spPr bwMode="auto">
          <a:xfrm flipH="1" flipV="1">
            <a:off x="4340015" y="2661388"/>
            <a:ext cx="2011362" cy="566738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87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правочник «Информационные системы»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669" y="1164463"/>
            <a:ext cx="7344814" cy="38010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1944613" y="5184303"/>
            <a:ext cx="8270875" cy="1083369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Справочник «Информационные системы» предназначен для ведения перечня информационных систем в рамках системы внутреннего контроля</a:t>
            </a:r>
            <a:endParaRPr kumimoji="0" lang="ru-RU" sz="11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639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контрольных процедур по шаблону</a:t>
            </a:r>
          </a:p>
        </p:txBody>
      </p:sp>
      <p:sp>
        <p:nvSpPr>
          <p:cNvPr id="44033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18681B4-C854-4C2D-BBFF-0DE6231D176C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6</a:t>
            </a:fld>
            <a:endParaRPr lang="ru-RU" altLang="ru-RU" sz="945"/>
          </a:p>
        </p:txBody>
      </p:sp>
      <p:pic>
        <p:nvPicPr>
          <p:cNvPr id="41988" name="Рисунок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1444" y="1471540"/>
            <a:ext cx="5112138" cy="4410119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Скругленный прямоугольник 5"/>
          <p:cNvSpPr/>
          <p:nvPr/>
        </p:nvSpPr>
        <p:spPr bwMode="auto">
          <a:xfrm>
            <a:off x="6284552" y="2151058"/>
            <a:ext cx="2932869" cy="1377061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r>
              <a:rPr lang="ru-RU" sz="1800" b="0" dirty="0">
                <a:solidFill>
                  <a:srgbClr val="5F0000"/>
                </a:solidFill>
              </a:rPr>
              <a:t>При создании КП  указывается ранее созданный шаблон КП. </a:t>
            </a:r>
          </a:p>
        </p:txBody>
      </p:sp>
    </p:spTree>
    <p:extLst>
      <p:ext uri="{BB962C8B-B14F-4D97-AF65-F5344CB8AC3E}">
        <p14:creationId xmlns:p14="http://schemas.microsoft.com/office/powerpoint/2010/main" val="11414301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контрольных процедур</a:t>
            </a:r>
          </a:p>
        </p:txBody>
      </p:sp>
      <p:sp>
        <p:nvSpPr>
          <p:cNvPr id="4505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F686791-0DAA-434F-A657-224FCE7BCF82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7</a:t>
            </a:fld>
            <a:endParaRPr lang="ru-RU" altLang="ru-RU" sz="945"/>
          </a:p>
        </p:txBody>
      </p:sp>
      <p:sp>
        <p:nvSpPr>
          <p:cNvPr id="13" name="Скругленный прямоугольник 5"/>
          <p:cNvSpPr/>
          <p:nvPr/>
        </p:nvSpPr>
        <p:spPr bwMode="auto">
          <a:xfrm>
            <a:off x="3240757" y="4176191"/>
            <a:ext cx="4366617" cy="1225533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r>
              <a:rPr lang="ru-RU" sz="1800" b="0">
                <a:solidFill>
                  <a:srgbClr val="5F0000"/>
                </a:solidFill>
              </a:rPr>
              <a:t>При регистрации КП на закладке «Описание» можно добавить ее подробное описание</a:t>
            </a:r>
          </a:p>
        </p:txBody>
      </p:sp>
      <p:pic>
        <p:nvPicPr>
          <p:cNvPr id="44038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967" y="1935860"/>
            <a:ext cx="7224195" cy="1890051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40167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контрольных процедур</a:t>
            </a:r>
          </a:p>
        </p:txBody>
      </p:sp>
      <p:sp>
        <p:nvSpPr>
          <p:cNvPr id="46081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32D2D9D2-45BC-4CBA-A2FD-03CBCB1FCC70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8</a:t>
            </a:fld>
            <a:endParaRPr lang="ru-RU" altLang="ru-RU" sz="945"/>
          </a:p>
        </p:txBody>
      </p:sp>
      <p:pic>
        <p:nvPicPr>
          <p:cNvPr id="43012" name="Рисунок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435" y="1402538"/>
            <a:ext cx="7686208" cy="408311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Скругленный прямоугольник 5"/>
          <p:cNvSpPr/>
          <p:nvPr/>
        </p:nvSpPr>
        <p:spPr bwMode="auto">
          <a:xfrm>
            <a:off x="1587175" y="3438816"/>
            <a:ext cx="4366618" cy="2790075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r>
              <a:rPr lang="ru-RU" sz="1800" b="0" dirty="0">
                <a:solidFill>
                  <a:srgbClr val="5F0000"/>
                </a:solidFill>
              </a:rPr>
              <a:t>При регистрации КП на закладке «Стадии» ответственный работник за выполнение стадии описывает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rgbClr val="5F0000"/>
                </a:solidFill>
              </a:rPr>
              <a:t>результаты выполнения (стадии) контрольной процеду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rgbClr val="5F0000"/>
                </a:solidFill>
              </a:rPr>
              <a:t>прикладывает подтверждающие документы</a:t>
            </a:r>
          </a:p>
        </p:txBody>
      </p:sp>
      <p:sp>
        <p:nvSpPr>
          <p:cNvPr id="14" name="Стрелка вправо 7"/>
          <p:cNvSpPr/>
          <p:nvPr/>
        </p:nvSpPr>
        <p:spPr bwMode="auto">
          <a:xfrm rot="10800000" flipH="1" flipV="1">
            <a:off x="6119547" y="3717100"/>
            <a:ext cx="504014" cy="535515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endParaRPr lang="ru-RU" sz="1800" b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986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Рисунок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450" y="1149031"/>
            <a:ext cx="5202140" cy="3249088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контрольных процедур</a:t>
            </a:r>
          </a:p>
        </p:txBody>
      </p:sp>
      <p:sp>
        <p:nvSpPr>
          <p:cNvPr id="47106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09BE64D-1312-4E14-821A-BA226D8DD7A9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9</a:t>
            </a:fld>
            <a:endParaRPr lang="ru-RU" altLang="ru-RU" sz="945"/>
          </a:p>
        </p:txBody>
      </p:sp>
      <p:sp>
        <p:nvSpPr>
          <p:cNvPr id="13" name="Скругленный прямоугольник 5"/>
          <p:cNvSpPr/>
          <p:nvPr/>
        </p:nvSpPr>
        <p:spPr bwMode="auto">
          <a:xfrm>
            <a:off x="2495450" y="5028135"/>
            <a:ext cx="6735182" cy="1129531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r>
              <a:rPr lang="ru-RU" sz="1800" b="0">
                <a:solidFill>
                  <a:srgbClr val="5F0000"/>
                </a:solidFill>
              </a:rPr>
              <a:t>на закладке «Участники» можно добавить несколько пользователей/ролей – участников выполнения контрольной процедуры</a:t>
            </a:r>
          </a:p>
        </p:txBody>
      </p:sp>
      <p:sp>
        <p:nvSpPr>
          <p:cNvPr id="14" name="Стрелка вправо 7"/>
          <p:cNvSpPr/>
          <p:nvPr/>
        </p:nvSpPr>
        <p:spPr bwMode="auto">
          <a:xfrm rot="5400000" flipH="1" flipV="1">
            <a:off x="3280720" y="4406368"/>
            <a:ext cx="504014" cy="535515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endParaRPr lang="ru-RU" sz="1800" b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867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Внутренний контроль и управление налоговыми рисками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1838325" y="2538312"/>
            <a:ext cx="3779837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Контрольные соотношения и расшифровки отчетности</a:t>
            </a: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1838325" y="1833462"/>
            <a:ext cx="3779837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en-US" sz="1400">
                <a:solidFill>
                  <a:srgbClr val="606060"/>
                </a:solidFill>
              </a:rPr>
              <a:t>Панель контролей налогового инспектора</a:t>
            </a:r>
            <a:endParaRPr lang="ru-RU" sz="1400">
              <a:solidFill>
                <a:srgbClr val="60606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5903912" y="5292625"/>
            <a:ext cx="3779838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altLang="en-US" sz="1400">
                <a:solidFill>
                  <a:srgbClr val="606060"/>
                </a:solidFill>
              </a:rPr>
              <a:t>Протоколирование действий пользователя</a:t>
            </a:r>
            <a:endParaRPr lang="ru-RU" sz="1400">
              <a:solidFill>
                <a:srgbClr val="60606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5903912" y="3243162"/>
            <a:ext cx="3779838" cy="541338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Управление валютными, процентными и кредитными рисками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1838325" y="3243162"/>
            <a:ext cx="3779837" cy="541338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Чек-лист закрытия периода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5903912" y="1833462"/>
            <a:ext cx="3779838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400" dirty="0">
                <a:solidFill>
                  <a:srgbClr val="808080">
                    <a:lumMod val="75000"/>
                  </a:srgbClr>
                </a:solidFill>
              </a:rPr>
              <a:t>Средства обобщенного анализа налоговой информации (</a:t>
            </a:r>
            <a:r>
              <a:rPr lang="ru-RU" sz="1400" dirty="0" err="1">
                <a:solidFill>
                  <a:srgbClr val="808080">
                    <a:lumMod val="75000"/>
                  </a:srgbClr>
                </a:solidFill>
              </a:rPr>
              <a:t>дашборды</a:t>
            </a:r>
            <a:r>
              <a:rPr lang="ru-RU" sz="1400" dirty="0">
                <a:solidFill>
                  <a:srgbClr val="808080">
                    <a:lumMod val="75000"/>
                  </a:srgbClr>
                </a:solidFill>
              </a:rPr>
              <a:t>, </a:t>
            </a:r>
            <a:r>
              <a:rPr lang="en-US" sz="1400" dirty="0">
                <a:solidFill>
                  <a:srgbClr val="808080">
                    <a:lumMod val="75000"/>
                  </a:srgbClr>
                </a:solidFill>
              </a:rPr>
              <a:t>BEPS</a:t>
            </a:r>
            <a:r>
              <a:rPr lang="ru-RU" sz="1400" dirty="0">
                <a:solidFill>
                  <a:srgbClr val="808080">
                    <a:lumMod val="75000"/>
                  </a:srgbClr>
                </a:solidFill>
              </a:rPr>
              <a:t>)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838325" y="4587775"/>
            <a:ext cx="3779837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Контроль корректности и полноты ввода данных </a:t>
            </a:r>
            <a:r>
              <a:rPr lang="ru-RU" altLang="en-US" sz="1400">
                <a:solidFill>
                  <a:srgbClr val="606060"/>
                </a:solidFill>
              </a:rPr>
              <a:t>в первичных документа</a:t>
            </a:r>
            <a:r>
              <a:rPr lang="en-US" altLang="en-US" sz="1400">
                <a:solidFill>
                  <a:srgbClr val="606060"/>
                </a:solidFill>
              </a:rPr>
              <a:t>х</a:t>
            </a:r>
            <a:endParaRPr lang="ru-RU" sz="1400">
              <a:solidFill>
                <a:srgbClr val="60606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5903912" y="2538312"/>
            <a:ext cx="3779838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Экспресс-проверка ведения учета, </a:t>
            </a:r>
            <a:r>
              <a:rPr lang="en-US" sz="1400">
                <a:solidFill>
                  <a:srgbClr val="606060"/>
                </a:solidFill>
              </a:rPr>
              <a:t> </a:t>
            </a:r>
            <a:r>
              <a:rPr lang="ru-RU" sz="1400">
                <a:solidFill>
                  <a:srgbClr val="606060"/>
                </a:solidFill>
              </a:rPr>
              <a:t>контроли в налоговых расчетах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1838325" y="5292625"/>
            <a:ext cx="3779837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en-US" sz="1400">
                <a:solidFill>
                  <a:srgbClr val="606060"/>
                </a:solidFill>
              </a:rPr>
              <a:t>Ограничение доступа на уровне записей и ролей</a:t>
            </a:r>
            <a:endParaRPr lang="ru-RU" sz="1400">
              <a:solidFill>
                <a:srgbClr val="60606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5903912" y="4587775"/>
            <a:ext cx="3779838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sz="1400">
                <a:solidFill>
                  <a:srgbClr val="606060"/>
                </a:solidFill>
              </a:rPr>
              <a:t>Интеграция с сервисами 1С: Электронный документооборот (ЭДО) и 1С:Директ Банк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5899150" y="1165125"/>
            <a:ext cx="3781425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>
                <a:solidFill>
                  <a:srgbClr val="C00000"/>
                </a:solidFill>
              </a:rPr>
              <a:t>Отчетность в соответствии с Приказом </a:t>
            </a:r>
            <a:r>
              <a:rPr lang="ru-RU" altLang="ru-RU" sz="1400">
                <a:solidFill>
                  <a:srgbClr val="C00000"/>
                </a:solidFill>
              </a:rPr>
              <a:t>25.05.2021 № ЕД-7-23/518@</a:t>
            </a:r>
            <a:endParaRPr lang="ru-RU" sz="1400">
              <a:solidFill>
                <a:srgbClr val="C0000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1852612" y="1165125"/>
            <a:ext cx="3781425" cy="539750"/>
          </a:xfrm>
          <a:prstGeom prst="rect">
            <a:avLst/>
          </a:prstGeom>
          <a:solidFill>
            <a:srgbClr val="F9E383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en-US" sz="1400">
                <a:solidFill>
                  <a:srgbClr val="C00000"/>
                </a:solidFill>
              </a:rPr>
              <a:t>Регистрация рисков, контрольных процедур</a:t>
            </a:r>
            <a:endParaRPr lang="ru-RU" sz="1400">
              <a:solidFill>
                <a:srgbClr val="C00000"/>
              </a:solidFill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912" y="3873400"/>
            <a:ext cx="2403475" cy="623887"/>
          </a:xfrm>
          <a:prstGeom prst="rect">
            <a:avLst/>
          </a:prstGeom>
          <a:solidFill>
            <a:srgbClr val="F9E383"/>
          </a:solidFill>
          <a:ln>
            <a:noFill/>
          </a:ln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737" y="3913087"/>
            <a:ext cx="2303463" cy="541338"/>
          </a:xfrm>
          <a:prstGeom prst="rect">
            <a:avLst/>
          </a:prstGeom>
          <a:solidFill>
            <a:srgbClr val="F9E383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10883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контрольных процедур</a:t>
            </a:r>
          </a:p>
        </p:txBody>
      </p:sp>
      <p:sp>
        <p:nvSpPr>
          <p:cNvPr id="4812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FAAC556-18FB-491E-8440-1FDBA445F6B8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0</a:t>
            </a:fld>
            <a:endParaRPr lang="ru-RU" altLang="ru-RU" sz="945"/>
          </a:p>
        </p:txBody>
      </p:sp>
      <p:sp>
        <p:nvSpPr>
          <p:cNvPr id="13" name="Скругленный прямоугольник 5"/>
          <p:cNvSpPr/>
          <p:nvPr/>
        </p:nvSpPr>
        <p:spPr bwMode="auto">
          <a:xfrm>
            <a:off x="2393447" y="3988608"/>
            <a:ext cx="6735182" cy="2109057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r>
              <a:rPr lang="ru-RU" sz="1800" b="0" dirty="0">
                <a:solidFill>
                  <a:srgbClr val="5F0000"/>
                </a:solidFill>
              </a:rPr>
              <a:t>При создании экземпляра мероприятия (контрольной процедуры) на закладке «Результаты» исполнитель:</a:t>
            </a:r>
          </a:p>
          <a:p>
            <a:r>
              <a:rPr lang="ru-RU" sz="1800" b="0" dirty="0">
                <a:solidFill>
                  <a:srgbClr val="5F0000"/>
                </a:solidFill>
              </a:rPr>
              <a:t>- проставляет соответствующий статус результата выполнения в целом по мероприятию (контрольной процедуре),</a:t>
            </a:r>
          </a:p>
          <a:p>
            <a:r>
              <a:rPr lang="ru-RU" sz="1800" b="0" dirty="0">
                <a:solidFill>
                  <a:srgbClr val="5F0000"/>
                </a:solidFill>
              </a:rPr>
              <a:t>-  добавляет в многострочном текстовом поле «Отчет о результатах».</a:t>
            </a:r>
          </a:p>
        </p:txBody>
      </p:sp>
      <p:pic>
        <p:nvPicPr>
          <p:cNvPr id="46085" name="Рисунок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442" y="1402538"/>
            <a:ext cx="7446201" cy="2467566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Стрелка вправо 7"/>
          <p:cNvSpPr/>
          <p:nvPr/>
        </p:nvSpPr>
        <p:spPr bwMode="auto">
          <a:xfrm rot="19972729" flipH="1" flipV="1">
            <a:off x="4766510" y="2368564"/>
            <a:ext cx="504014" cy="535514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endParaRPr lang="ru-RU" sz="1800" b="0">
              <a:solidFill>
                <a:srgbClr val="5F0000"/>
              </a:solidFill>
            </a:endParaRPr>
          </a:p>
        </p:txBody>
      </p:sp>
      <p:sp>
        <p:nvSpPr>
          <p:cNvPr id="9" name="Стрелка вправо 7"/>
          <p:cNvSpPr/>
          <p:nvPr/>
        </p:nvSpPr>
        <p:spPr bwMode="auto">
          <a:xfrm rot="19972729" flipH="1" flipV="1">
            <a:off x="8539112" y="3075083"/>
            <a:ext cx="504014" cy="535515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endParaRPr lang="ru-RU" sz="1800" b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587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35" b="4207"/>
          <a:stretch>
            <a:fillRect/>
          </a:stretch>
        </p:blipFill>
        <p:spPr bwMode="auto">
          <a:xfrm>
            <a:off x="2522450" y="1608043"/>
            <a:ext cx="6477175" cy="2611571"/>
          </a:xfrm>
          <a:prstGeom prst="rect">
            <a:avLst/>
          </a:prstGeom>
          <a:noFill/>
          <a:ln>
            <a:noFill/>
          </a:ln>
          <a:effectLst>
            <a:outerShdw blurRad="127000" dist="35921" dir="5400000" sx="103000" sy="103000" algn="ctr" rotWithShape="0">
              <a:schemeClr val="bg2">
                <a:alpha val="7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546451" y="4489621"/>
            <a:ext cx="6172666" cy="1182696"/>
          </a:xfrm>
          <a:prstGeom prst="rect">
            <a:avLst/>
          </a:prstGeom>
        </p:spPr>
        <p:txBody>
          <a:bodyPr>
            <a:spAutoFit/>
          </a:bodyPr>
          <a:lstStyle>
            <a:lvl1pPr marL="255588" indent="-255588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ru-RU" altLang="ru-RU" sz="1417">
                <a:solidFill>
                  <a:srgbClr val="808080"/>
                </a:solidFill>
              </a:rPr>
              <a:t>Настройка маршрута в пользовательском режиме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altLang="ru-RU" sz="1417">
                <a:solidFill>
                  <a:srgbClr val="808080"/>
                </a:solidFill>
              </a:rPr>
              <a:t>Произвольные условия ветвления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altLang="ru-RU" sz="1417">
                <a:solidFill>
                  <a:srgbClr val="808080"/>
                </a:solidFill>
              </a:rPr>
              <a:t>Ожидание наступления событий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altLang="ru-RU" sz="1417">
                <a:solidFill>
                  <a:srgbClr val="808080"/>
                </a:solidFill>
              </a:rPr>
              <a:t>Ролевая адресация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altLang="ru-RU" sz="1417">
                <a:solidFill>
                  <a:srgbClr val="808080"/>
                </a:solidFill>
              </a:rPr>
              <a:t>Согласование с мобильных устройств</a:t>
            </a:r>
            <a:endParaRPr lang="en-US" altLang="ru-RU" sz="1417">
              <a:solidFill>
                <a:srgbClr val="808080"/>
              </a:solidFill>
            </a:endParaRPr>
          </a:p>
        </p:txBody>
      </p:sp>
      <p:sp>
        <p:nvSpPr>
          <p:cNvPr id="49155" name="Заголовок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Маршруты согласования</a:t>
            </a:r>
          </a:p>
        </p:txBody>
      </p:sp>
      <p:grpSp>
        <p:nvGrpSpPr>
          <p:cNvPr id="49156" name="Группа 5"/>
          <p:cNvGrpSpPr>
            <a:grpSpLocks/>
          </p:cNvGrpSpPr>
          <p:nvPr/>
        </p:nvGrpSpPr>
        <p:grpSpPr bwMode="auto">
          <a:xfrm>
            <a:off x="7054072" y="2614571"/>
            <a:ext cx="2244061" cy="3415592"/>
            <a:chOff x="4822234" y="895350"/>
            <a:chExt cx="3926230" cy="5976000"/>
          </a:xfrm>
        </p:grpSpPr>
        <p:pic>
          <p:nvPicPr>
            <p:cNvPr id="49157" name="Picture 10" descr="Рисунок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234" y="895350"/>
              <a:ext cx="3926230" cy="59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158" name="Рисунок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8144" y="1707150"/>
              <a:ext cx="1946524" cy="34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99449614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инцидентов</a:t>
            </a:r>
            <a:endParaRPr lang="ru-RU" dirty="0"/>
          </a:p>
        </p:txBody>
      </p:sp>
      <p:sp>
        <p:nvSpPr>
          <p:cNvPr id="8" name="Стрелка вправо 7"/>
          <p:cNvSpPr/>
          <p:nvPr/>
        </p:nvSpPr>
        <p:spPr bwMode="auto">
          <a:xfrm rot="10800000" flipH="1" flipV="1">
            <a:off x="2047082" y="2952055"/>
            <a:ext cx="531812" cy="566737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6701" y="1052336"/>
            <a:ext cx="6353919" cy="514008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кругленный прямоугольник 9"/>
          <p:cNvSpPr/>
          <p:nvPr/>
        </p:nvSpPr>
        <p:spPr bwMode="auto">
          <a:xfrm>
            <a:off x="6215360" y="3086894"/>
            <a:ext cx="3576638" cy="1584325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и регистрации инцидентов, указывается ранее зарегистрированный риск, к которому он относится</a:t>
            </a:r>
          </a:p>
        </p:txBody>
      </p:sp>
    </p:spTree>
    <p:extLst>
      <p:ext uri="{BB962C8B-B14F-4D97-AF65-F5344CB8AC3E}">
        <p14:creationId xmlns:p14="http://schemas.microsoft.com/office/powerpoint/2010/main" val="17419313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страция инцидентов: реакция на риск</a:t>
            </a:r>
          </a:p>
        </p:txBody>
      </p:sp>
      <p:sp>
        <p:nvSpPr>
          <p:cNvPr id="5324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0798175" y="6234113"/>
            <a:ext cx="723900" cy="2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079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02013" indent="-270005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89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080021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512029" indent="-216004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512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1944037" indent="-216004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376046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808054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240062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672070" indent="-216004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323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D49D2B1-045D-4EAC-A6AE-6FF40237CDEC}" type="slidenum">
              <a:rPr lang="ru-RU" altLang="ru-RU" sz="945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3</a:t>
            </a:fld>
            <a:endParaRPr lang="ru-RU" altLang="ru-RU" sz="945"/>
          </a:p>
        </p:txBody>
      </p:sp>
      <p:sp>
        <p:nvSpPr>
          <p:cNvPr id="8" name="Стрелка вправо 7"/>
          <p:cNvSpPr/>
          <p:nvPr/>
        </p:nvSpPr>
        <p:spPr bwMode="auto">
          <a:xfrm rot="10800000" flipH="1" flipV="1">
            <a:off x="2124684" y="2963971"/>
            <a:ext cx="502513" cy="535514"/>
          </a:xfrm>
          <a:prstGeom prst="rightArrow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endParaRPr lang="ru-RU" sz="2000" b="0">
              <a:solidFill>
                <a:srgbClr val="5F0000"/>
              </a:solidFill>
            </a:endParaRPr>
          </a:p>
        </p:txBody>
      </p:sp>
      <p:pic>
        <p:nvPicPr>
          <p:cNvPr id="36869" name="Рисунок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6701" y="1943943"/>
            <a:ext cx="5733155" cy="3744101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Скругленный прямоугольник 5"/>
          <p:cNvSpPr/>
          <p:nvPr/>
        </p:nvSpPr>
        <p:spPr bwMode="auto">
          <a:xfrm>
            <a:off x="6377299" y="3626989"/>
            <a:ext cx="3669456" cy="2221704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sz="2000" b="0" dirty="0">
                <a:solidFill>
                  <a:srgbClr val="5F0000"/>
                </a:solidFill>
              </a:rPr>
              <a:t>При регистрации инцидентов на закладке «Реакции на риск», указывается мероприятие с видом «Реакция на инцидент»</a:t>
            </a:r>
          </a:p>
        </p:txBody>
      </p:sp>
    </p:spTree>
    <p:extLst>
      <p:ext uri="{BB962C8B-B14F-4D97-AF65-F5344CB8AC3E}">
        <p14:creationId xmlns:p14="http://schemas.microsoft.com/office/powerpoint/2010/main" val="3308079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Уведомления по СВК и УР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557" y="1223863"/>
            <a:ext cx="5625885" cy="4406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957" y="1943943"/>
            <a:ext cx="6280540" cy="4406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2C63B47-52E2-0947-8B57-AAB97BD310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706" t="7946" r="2334" b="1473"/>
          <a:stretch/>
        </p:blipFill>
        <p:spPr>
          <a:xfrm>
            <a:off x="432445" y="2245693"/>
            <a:ext cx="4248472" cy="4104456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0" name="Скругленный прямоугольник 9"/>
          <p:cNvSpPr/>
          <p:nvPr/>
        </p:nvSpPr>
        <p:spPr bwMode="auto">
          <a:xfrm>
            <a:off x="3673703" y="3902546"/>
            <a:ext cx="4478338" cy="2087563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В системе реализована выгрузка и отправка регламентированных отчётов как для вступления в НМ так и по СВК. Сейчас реализовано больше 20 регламентированных отчётов. По приказам 518, 476</a:t>
            </a:r>
          </a:p>
        </p:txBody>
      </p:sp>
    </p:spTree>
    <p:extLst>
      <p:ext uri="{BB962C8B-B14F-4D97-AF65-F5344CB8AC3E}">
        <p14:creationId xmlns:p14="http://schemas.microsoft.com/office/powerpoint/2010/main" val="747956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тчёты по СВК</a:t>
            </a:r>
            <a:r>
              <a:rPr lang="en-US"/>
              <a:t> </a:t>
            </a:r>
            <a:r>
              <a:rPr lang="ru-RU"/>
              <a:t>и УР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413" y="1441303"/>
            <a:ext cx="6480720" cy="38870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429" y="3744143"/>
            <a:ext cx="6706705" cy="30243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2965" y="2197117"/>
            <a:ext cx="6233805" cy="4021622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042719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Заголовок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268" dirty="0"/>
              <a:t>Функциональные контроли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40376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Корректность полноты и непротиворечивости вводимых данных (несколько тысяч контролей)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581546" y="1583903"/>
            <a:ext cx="8368726" cy="361163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sz="1890" b="0" dirty="0">
              <a:solidFill>
                <a:srgbClr val="000000"/>
              </a:solidFill>
              <a:latin typeface="+mn-lt"/>
            </a:endParaRP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</a:t>
            </a:r>
            <a:r>
              <a:rPr lang="ru-RU" sz="2079" b="0" dirty="0">
                <a:solidFill>
                  <a:srgbClr val="5B0917"/>
                </a:solidFill>
                <a:latin typeface="+mn-lt"/>
              </a:rPr>
              <a:t>Примеры: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введенные цена и количество должны соответствовать сумме документа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при поступлении услуг лизинга должен быть указан объект лизинга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для прослеживаемого товара указана страна происхождения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отгружаемый товар по данным учета еще не продан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возвращаемый товар действительно был реализован раньше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размер амортизационной премии соответствует амортизационной группе основного средства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- ИНН контрагента соответствует сведениям ЕГРН о действующем </a:t>
            </a:r>
            <a:r>
              <a:rPr lang="ru-RU" sz="1890" b="0" dirty="0" err="1">
                <a:solidFill>
                  <a:srgbClr val="000000"/>
                </a:solidFill>
                <a:latin typeface="+mn-lt"/>
              </a:rPr>
              <a:t>юрлице</a:t>
            </a:r>
            <a:r>
              <a:rPr lang="ru-RU" sz="1890" b="0" dirty="0">
                <a:solidFill>
                  <a:srgbClr val="000000"/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66057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роли в расчетах по правилам Налогового Кодекса (несколько тысяч контролей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563924" y="1267535"/>
            <a:ext cx="8029717" cy="477502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890" dirty="0">
                <a:solidFill>
                  <a:srgbClr val="000000"/>
                </a:solidFill>
              </a:rPr>
              <a:t>  </a:t>
            </a:r>
            <a:r>
              <a:rPr lang="ru-RU" sz="2079" dirty="0">
                <a:solidFill>
                  <a:srgbClr val="5B0917"/>
                </a:solidFill>
              </a:rPr>
              <a:t>  </a:t>
            </a:r>
            <a:r>
              <a:rPr lang="ru-RU" sz="2079" b="0" dirty="0">
                <a:solidFill>
                  <a:srgbClr val="5B0917"/>
                </a:solidFill>
                <a:latin typeface="+mn-lt"/>
              </a:rPr>
              <a:t>Примеры</a:t>
            </a:r>
            <a:r>
              <a:rPr lang="ru-RU" sz="2079" dirty="0">
                <a:solidFill>
                  <a:srgbClr val="5B0917"/>
                </a:solidFill>
              </a:rPr>
              <a:t>: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совокупная сумма расходов по амортизации не превышает величины затрат (за исключением явно обозначенных в НК случаев)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основное средство продается с убытком до истечения нормативного срока полезного использования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переносимый убыток не превышает 50% от прибыли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убытки ранее 2007 года не переносятся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определен перечень прямых расходов на производство и реализацию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перечень прямых расходов не содержит явных противоречий с данными бухгалтерского учета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косвенные расходы не включены в себестоимость запасов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для всех расходов понятна классификация с точки зрения статей НК</a:t>
            </a:r>
          </a:p>
          <a:p>
            <a:r>
              <a:rPr lang="ru-RU" sz="1890" b="0" dirty="0">
                <a:solidFill>
                  <a:srgbClr val="000000"/>
                </a:solidFill>
                <a:latin typeface="+mn-lt"/>
              </a:rPr>
              <a:t>     - срок документа, подтверждающего льготу по налогу на имущество, не истек.</a:t>
            </a:r>
          </a:p>
        </p:txBody>
      </p:sp>
    </p:spTree>
    <p:extLst>
      <p:ext uri="{BB962C8B-B14F-4D97-AF65-F5344CB8AC3E}">
        <p14:creationId xmlns:p14="http://schemas.microsoft.com/office/powerpoint/2010/main" val="22978996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рольные соотношения налоговых деклараций (2000+ соотношений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4" r="18333"/>
          <a:stretch>
            <a:fillRect/>
          </a:stretch>
        </p:blipFill>
        <p:spPr bwMode="auto">
          <a:xfrm>
            <a:off x="4286498" y="1335036"/>
            <a:ext cx="5238141" cy="3606097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792485" y="1871935"/>
            <a:ext cx="3284886" cy="2376264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Проверка контрольных соотношений в строках налоговых деклараций доступна по основным налогам</a:t>
            </a:r>
          </a:p>
          <a:p>
            <a:pPr lvl="0"/>
            <a:endParaRPr lang="ru-RU" altLang="ru-RU" sz="1600" b="0" dirty="0">
              <a:solidFill>
                <a:srgbClr val="5F0000"/>
              </a:solidFill>
            </a:endParaRPr>
          </a:p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Возможность вывода только соотношений с ошибками.</a:t>
            </a:r>
          </a:p>
          <a:p>
            <a:pPr lvl="0"/>
            <a:endParaRPr lang="ru-RU" altLang="ru-RU" sz="1600" b="0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093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менения законодательства в части Системы Внутреннего контроля и управления рисками</a:t>
            </a:r>
          </a:p>
        </p:txBody>
      </p:sp>
      <p:sp>
        <p:nvSpPr>
          <p:cNvPr id="3" name="Объект 2"/>
          <p:cNvSpPr>
            <a:spLocks noGrp="1" noChangeArrowheads="1"/>
          </p:cNvSpPr>
          <p:nvPr/>
        </p:nvSpPr>
        <p:spPr bwMode="auto">
          <a:xfrm>
            <a:off x="1584573" y="2015951"/>
            <a:ext cx="8064500" cy="3744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indent="0" algn="just">
              <a:buFont typeface="Wingdings" panose="05000000000000000000" pitchFamily="2" charset="2"/>
              <a:buNone/>
            </a:pPr>
            <a:r>
              <a:rPr lang="ru-RU" altLang="ru-RU" b="0" dirty="0">
                <a:solidFill>
                  <a:schemeClr val="tx1"/>
                </a:solidFill>
              </a:rPr>
              <a:t>01.06.2021 ФНС России опубликовала Приказ от 25.05.2021 № ЕД-7-23/518@ Об утверждении Требований к организации системы внутреннего контроля:</a:t>
            </a:r>
          </a:p>
          <a:p>
            <a:pPr lvl="1" algn="just"/>
            <a:r>
              <a:rPr lang="ru-RU" altLang="ru-RU" b="0" dirty="0">
                <a:solidFill>
                  <a:schemeClr val="tx1"/>
                </a:solidFill>
              </a:rPr>
              <a:t>вступает в силу по истечении 10 дней со дня его официального опубликования, но не ранее 01.07.2021</a:t>
            </a:r>
          </a:p>
          <a:p>
            <a:pPr lvl="1" algn="just"/>
            <a:r>
              <a:rPr lang="ru-RU" altLang="ru-RU" b="0" dirty="0">
                <a:solidFill>
                  <a:schemeClr val="tx1"/>
                </a:solidFill>
              </a:rPr>
              <a:t>утверждает «Требования к организации системы внутреннего контроля»</a:t>
            </a:r>
          </a:p>
          <a:p>
            <a:pPr lvl="1" algn="just"/>
            <a:r>
              <a:rPr lang="ru-RU" altLang="ru-RU" b="0" dirty="0">
                <a:solidFill>
                  <a:schemeClr val="tx1"/>
                </a:solidFill>
              </a:rPr>
              <a:t>утверждает перечень форм для заполнения организациями и представления налоговому органу</a:t>
            </a:r>
          </a:p>
        </p:txBody>
      </p:sp>
    </p:spTree>
    <p:extLst>
      <p:ext uri="{BB962C8B-B14F-4D97-AF65-F5344CB8AC3E}">
        <p14:creationId xmlns:p14="http://schemas.microsoft.com/office/powerpoint/2010/main" val="3887972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зможность сравнения первичной и уточненной налоговых деклараций</a:t>
            </a:r>
          </a:p>
        </p:txBody>
      </p:sp>
      <p:pic>
        <p:nvPicPr>
          <p:cNvPr id="61442" name="Рисунок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8" b="50000"/>
          <a:stretch>
            <a:fillRect/>
          </a:stretch>
        </p:blipFill>
        <p:spPr bwMode="auto">
          <a:xfrm>
            <a:off x="2030437" y="1390537"/>
            <a:ext cx="5896659" cy="2110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3" name="Рисунок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674"/>
          <a:stretch>
            <a:fillRect/>
          </a:stretch>
        </p:blipFill>
        <p:spPr bwMode="auto">
          <a:xfrm>
            <a:off x="2048437" y="3501094"/>
            <a:ext cx="7318697" cy="273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 bwMode="auto">
          <a:xfrm>
            <a:off x="7273205" y="1799927"/>
            <a:ext cx="3284886" cy="2376264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В результате сравнения первичной и уточненной налоговой деклараций программа позволяет видеть абсолютные и относительные разницы в изменении показателей декларации</a:t>
            </a:r>
            <a:br>
              <a:rPr lang="ru-RU" altLang="ru-RU" sz="1600" b="0" dirty="0">
                <a:solidFill>
                  <a:srgbClr val="5F0000"/>
                </a:solidFill>
              </a:rPr>
            </a:br>
            <a:r>
              <a:rPr lang="ru-RU" altLang="ru-RU" sz="1600" b="0" dirty="0">
                <a:solidFill>
                  <a:srgbClr val="5F0000"/>
                </a:solidFill>
              </a:rPr>
              <a:t>и расшифровать эти изменения</a:t>
            </a:r>
          </a:p>
        </p:txBody>
      </p:sp>
    </p:spTree>
    <p:extLst>
      <p:ext uri="{BB962C8B-B14F-4D97-AF65-F5344CB8AC3E}">
        <p14:creationId xmlns:p14="http://schemas.microsoft.com/office/powerpoint/2010/main" val="28051260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Рисунок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433" b="50000"/>
          <a:stretch>
            <a:fillRect/>
          </a:stretch>
        </p:blipFill>
        <p:spPr bwMode="auto">
          <a:xfrm>
            <a:off x="4091493" y="2383564"/>
            <a:ext cx="4089110" cy="1798548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5" name="Picture 11" descr="PPT1E6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038" y="994527"/>
            <a:ext cx="4089110" cy="2287561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8" name="Рисунок 1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495" y="4656126"/>
            <a:ext cx="2922079" cy="1690546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9" name="Рисунок 1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6" r="21964" b="26051"/>
          <a:stretch>
            <a:fillRect/>
          </a:stretch>
        </p:blipFill>
        <p:spPr bwMode="auto">
          <a:xfrm>
            <a:off x="5788038" y="3921106"/>
            <a:ext cx="4186614" cy="1794048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Прямая со стрелкой 69"/>
          <p:cNvCxnSpPr/>
          <p:nvPr/>
        </p:nvCxnSpPr>
        <p:spPr bwMode="auto">
          <a:xfrm rot="5400000">
            <a:off x="4934515" y="1557042"/>
            <a:ext cx="912025" cy="741020"/>
          </a:xfrm>
          <a:prstGeom prst="bentConnector3">
            <a:avLst>
              <a:gd name="adj1" fmla="val 1323"/>
            </a:avLst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69"/>
          <p:cNvCxnSpPr/>
          <p:nvPr/>
        </p:nvCxnSpPr>
        <p:spPr bwMode="auto">
          <a:xfrm>
            <a:off x="8180603" y="3511596"/>
            <a:ext cx="846023" cy="573015"/>
          </a:xfrm>
          <a:prstGeom prst="bentConnector3">
            <a:avLst>
              <a:gd name="adj1" fmla="val 99827"/>
            </a:avLst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69"/>
          <p:cNvCxnSpPr/>
          <p:nvPr/>
        </p:nvCxnSpPr>
        <p:spPr bwMode="auto">
          <a:xfrm rot="5400000">
            <a:off x="7311329" y="5301893"/>
            <a:ext cx="313509" cy="828022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глядная расшифровка показателей налоговых деклараций</a:t>
            </a: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538849" y="2205628"/>
            <a:ext cx="3284886" cy="3430956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Последовательная расшифровка показателей налоговой декларации до учетного документа полностью поддерживается  в решениях с ядром БП Корп. В решениях с  подсистемой ЕРП расшифровка возможна средствами регистров налогового учёта.</a:t>
            </a:r>
          </a:p>
          <a:p>
            <a:pPr lvl="0"/>
            <a:endParaRPr lang="ru-RU" altLang="ru-RU" sz="1600" b="0" dirty="0">
              <a:solidFill>
                <a:srgbClr val="5F0000"/>
              </a:solidFill>
            </a:endParaRPr>
          </a:p>
          <a:p>
            <a:pPr lvl="0"/>
            <a:endParaRPr lang="ru-RU" altLang="ru-RU" sz="1600" b="0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1214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Рисунок 7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424" y="1267535"/>
            <a:ext cx="8407727" cy="4897632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539" name="Заголовок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Оценка налоговых рисков при помощи индикаторов </a:t>
            </a:r>
            <a:r>
              <a:rPr lang="en-US" altLang="ru-RU"/>
              <a:t>BEPS</a:t>
            </a:r>
            <a:endParaRPr lang="ru-RU" altLang="ru-RU"/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7921277" y="2015951"/>
            <a:ext cx="2959249" cy="1979885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Налоговые риски МГК в 1С:Управление холдингом можно оценивать по совокупности индикаторов BEPS</a:t>
            </a:r>
          </a:p>
        </p:txBody>
      </p:sp>
    </p:spTree>
    <p:extLst>
      <p:ext uri="{BB962C8B-B14F-4D97-AF65-F5344CB8AC3E}">
        <p14:creationId xmlns:p14="http://schemas.microsoft.com/office/powerpoint/2010/main" val="17715955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ая выноска 14"/>
          <p:cNvSpPr/>
          <p:nvPr/>
        </p:nvSpPr>
        <p:spPr bwMode="auto">
          <a:xfrm>
            <a:off x="792485" y="1810549"/>
            <a:ext cx="3131003" cy="3606097"/>
          </a:xfrm>
          <a:prstGeom prst="wedgeRectCallout">
            <a:avLst>
              <a:gd name="adj1" fmla="val 56670"/>
              <a:gd name="adj2" fmla="val -19402"/>
            </a:avLst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sz="1600" b="0" dirty="0">
                <a:solidFill>
                  <a:srgbClr val="5F0000"/>
                </a:solidFill>
              </a:rPr>
              <a:t>Закрытие отчётного периода производится в регламентированной последовательности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sz="1600" b="0" dirty="0">
                <a:solidFill>
                  <a:srgbClr val="5F0000"/>
                </a:solidFill>
              </a:rPr>
              <a:t>Ход закрытия (42 операции) выводится по этапам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sz="1600" b="0" dirty="0">
                <a:solidFill>
                  <a:srgbClr val="5F0000"/>
                </a:solidFill>
              </a:rPr>
              <a:t>После закрытия отчётный период блокируется, что исключает возможность редактирования данных</a:t>
            </a:r>
          </a:p>
        </p:txBody>
      </p:sp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7993" y="1675546"/>
            <a:ext cx="5706154" cy="3877604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рытие периода</a:t>
            </a:r>
          </a:p>
        </p:txBody>
      </p:sp>
    </p:spTree>
    <p:extLst>
      <p:ext uri="{BB962C8B-B14F-4D97-AF65-F5344CB8AC3E}">
        <p14:creationId xmlns:p14="http://schemas.microsoft.com/office/powerpoint/2010/main" val="24849499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en-US" dirty="0"/>
              <a:t>Справки</a:t>
            </a:r>
            <a:r>
              <a:rPr lang="en-US" altLang="en-US" dirty="0"/>
              <a:t>-</a:t>
            </a:r>
            <a:r>
              <a:rPr lang="ru-RU" altLang="en-US" dirty="0"/>
              <a:t>расчеты</a:t>
            </a:r>
            <a:endParaRPr lang="en-US" altLang="en-US" sz="1701" dirty="0"/>
          </a:p>
        </p:txBody>
      </p:sp>
      <p:pic>
        <p:nvPicPr>
          <p:cNvPr id="6963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965" y="1589976"/>
            <a:ext cx="4932133" cy="444612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 bwMode="auto">
          <a:xfrm>
            <a:off x="1224533" y="2592015"/>
            <a:ext cx="3024336" cy="244204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Трудоемкие расчеты программа берет на себя для исключения ошибок</a:t>
            </a:r>
          </a:p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Для этого в системе поддержано около 30 справок-расчетов – например, программа сама рассчитывает нормируемые расходы</a:t>
            </a:r>
          </a:p>
        </p:txBody>
      </p:sp>
    </p:spTree>
    <p:extLst>
      <p:ext uri="{BB962C8B-B14F-4D97-AF65-F5344CB8AC3E}">
        <p14:creationId xmlns:p14="http://schemas.microsoft.com/office/powerpoint/2010/main" val="19156805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/>
              <a:t>Экспресс-проверка ведения учета</a:t>
            </a:r>
            <a:endParaRPr lang="en-US" altLang="en-US" dirty="0"/>
          </a:p>
        </p:txBody>
      </p:sp>
      <p:pic>
        <p:nvPicPr>
          <p:cNvPr id="71684" name="Picture 12" descr="PPT136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525" y="1606543"/>
            <a:ext cx="4768628" cy="4126611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1296541" y="2520007"/>
            <a:ext cx="3024336" cy="2442042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ru-RU" altLang="ru-RU" sz="1600" b="0" dirty="0">
                <a:solidFill>
                  <a:srgbClr val="5F0000"/>
                </a:solidFill>
              </a:rPr>
              <a:t>Система превентивных автоматизированных контролей позволяет проводить проверку соответствия данных различных отчетов и выявлять типовые ошибки в бухгалтерских и налоговых регистрах</a:t>
            </a:r>
          </a:p>
        </p:txBody>
      </p:sp>
    </p:spTree>
    <p:extLst>
      <p:ext uri="{BB962C8B-B14F-4D97-AF65-F5344CB8AC3E}">
        <p14:creationId xmlns:p14="http://schemas.microsoft.com/office/powerpoint/2010/main" val="21024405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Проверка по ЕГРН</a:t>
            </a:r>
            <a:endParaRPr lang="ru-RU" altLang="ru-RU" dirty="0"/>
          </a:p>
        </p:txBody>
      </p:sp>
      <p:pic>
        <p:nvPicPr>
          <p:cNvPr id="7885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442" y="1131031"/>
            <a:ext cx="6940687" cy="4887132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ая выноска 6"/>
          <p:cNvSpPr/>
          <p:nvPr/>
        </p:nvSpPr>
        <p:spPr bwMode="auto">
          <a:xfrm>
            <a:off x="6509558" y="927025"/>
            <a:ext cx="3061582" cy="1972554"/>
          </a:xfrm>
          <a:prstGeom prst="wedgeRectCallout">
            <a:avLst>
              <a:gd name="adj1" fmla="val -75070"/>
              <a:gd name="adj2" fmla="val 27450"/>
            </a:avLst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 b="0">
                <a:solidFill>
                  <a:srgbClr val="5F0000"/>
                </a:solidFill>
              </a:rPr>
              <a:t>Контрагенты, отсутствующие в Едином государственном реестре налогоплательщиков (ЕГРН) выделяются красным цветом </a:t>
            </a:r>
            <a:br>
              <a:rPr lang="ru-RU" altLang="ru-RU" sz="1600" b="0">
                <a:solidFill>
                  <a:srgbClr val="5F0000"/>
                </a:solidFill>
              </a:rPr>
            </a:br>
            <a:r>
              <a:rPr lang="ru-RU" altLang="ru-RU" sz="1600" b="0">
                <a:solidFill>
                  <a:srgbClr val="5F0000"/>
                </a:solidFill>
              </a:rPr>
              <a:t>при вводе 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1546761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/>
              <a:t>1С:Контрагент - сервис по контролю и анализу рисков</a:t>
            </a:r>
            <a:endParaRPr lang="en-US" altLang="en-US" dirty="0"/>
          </a:p>
        </p:txBody>
      </p:sp>
      <p:pic>
        <p:nvPicPr>
          <p:cNvPr id="7987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624" y="1338023"/>
            <a:ext cx="7456701" cy="4984634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ая выноска 21"/>
          <p:cNvSpPr/>
          <p:nvPr/>
        </p:nvSpPr>
        <p:spPr bwMode="auto">
          <a:xfrm>
            <a:off x="1263697" y="2044542"/>
            <a:ext cx="2452967" cy="3576272"/>
          </a:xfrm>
          <a:prstGeom prst="wedgeRectCallout">
            <a:avLst>
              <a:gd name="adj1" fmla="val 77637"/>
              <a:gd name="adj2" fmla="val -17758"/>
            </a:avLst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sz="1600" b="0" dirty="0">
                <a:solidFill>
                  <a:srgbClr val="5F0000"/>
                </a:solidFill>
              </a:rPr>
              <a:t>1С: Контрагент предоставляет возможность оценить налоговые риски и контролировать досье налогоплательщика на базе сервиса 1С:Контрагент с отображением информации в виде интерактивных </a:t>
            </a:r>
            <a:r>
              <a:rPr lang="ru-RU" sz="1600" b="0" dirty="0" err="1">
                <a:solidFill>
                  <a:srgbClr val="5F0000"/>
                </a:solidFill>
              </a:rPr>
              <a:t>дашбордов</a:t>
            </a:r>
            <a:r>
              <a:rPr lang="ru-RU" sz="1600" b="0" dirty="0">
                <a:solidFill>
                  <a:srgbClr val="5F0000"/>
                </a:solidFill>
              </a:rPr>
              <a:t>.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118574" y="3274588"/>
            <a:ext cx="598516" cy="14400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850" dirty="0">
                <a:solidFill>
                  <a:srgbClr val="5F0000"/>
                </a:solidFill>
              </a:rPr>
              <a:t>2018</a:t>
            </a:r>
          </a:p>
        </p:txBody>
      </p:sp>
      <p:pic>
        <p:nvPicPr>
          <p:cNvPr id="79878" name="Рисунок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277" y="3096071"/>
            <a:ext cx="2268061" cy="309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85229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Заголовок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Оценка контрагентов с использованием 1СПАРК Риски</a:t>
            </a:r>
            <a:endParaRPr lang="ru-RU" altLang="ru-RU" dirty="0"/>
          </a:p>
        </p:txBody>
      </p:sp>
      <p:pic>
        <p:nvPicPr>
          <p:cNvPr id="81922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436" y="1525541"/>
            <a:ext cx="7558704" cy="4842131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ая выноска 7"/>
          <p:cNvSpPr/>
          <p:nvPr/>
        </p:nvSpPr>
        <p:spPr bwMode="auto">
          <a:xfrm>
            <a:off x="1610426" y="3946607"/>
            <a:ext cx="3931606" cy="2083556"/>
          </a:xfrm>
          <a:prstGeom prst="wedgeRectCallout">
            <a:avLst>
              <a:gd name="adj1" fmla="val 73974"/>
              <a:gd name="adj2" fmla="val -56210"/>
            </a:avLst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 b="0">
                <a:solidFill>
                  <a:srgbClr val="5F0000"/>
                </a:solidFill>
              </a:rPr>
              <a:t>Оценка контрагентов на основе индексов системы СПАРК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 b="0">
                <a:solidFill>
                  <a:srgbClr val="5F0000"/>
                </a:solidFill>
              </a:rPr>
              <a:t>Мониторинг контрагентов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 b="0">
                <a:solidFill>
                  <a:srgbClr val="5F0000"/>
                </a:solidFill>
              </a:rPr>
              <a:t>Получение заверенной справки с подробной информацией о контрагенте</a:t>
            </a:r>
          </a:p>
        </p:txBody>
      </p:sp>
    </p:spTree>
    <p:extLst>
      <p:ext uri="{BB962C8B-B14F-4D97-AF65-F5344CB8AC3E}">
        <p14:creationId xmlns:p14="http://schemas.microsoft.com/office/powerpoint/2010/main" val="22444028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13"/>
          <p:cNvSpPr/>
          <p:nvPr/>
        </p:nvSpPr>
        <p:spPr>
          <a:xfrm>
            <a:off x="5374027" y="2821576"/>
            <a:ext cx="2040055" cy="240185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rgbClr val="FFCC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eaLnBrk="1" hangingPunct="1"/>
            <a:endParaRPr lang="ru-RU" sz="1039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Chevron 65"/>
          <p:cNvSpPr/>
          <p:nvPr/>
        </p:nvSpPr>
        <p:spPr>
          <a:xfrm>
            <a:off x="5279525" y="1914051"/>
            <a:ext cx="2395564" cy="810022"/>
          </a:xfrm>
          <a:prstGeom prst="chevron">
            <a:avLst>
              <a:gd name="adj" fmla="val 31973"/>
            </a:avLst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54006" tIns="54006" rIns="54006" bIns="54006" anchor="ctr"/>
          <a:lstStyle>
            <a:lvl1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C00000"/>
              </a:buClr>
            </a:pPr>
            <a:r>
              <a:rPr lang="ru-RU" sz="1134">
                <a:solidFill>
                  <a:srgbClr val="606060"/>
                </a:solidFill>
              </a:rPr>
              <a:t>Предупреждение отклонений</a:t>
            </a:r>
          </a:p>
        </p:txBody>
      </p:sp>
      <p:sp>
        <p:nvSpPr>
          <p:cNvPr id="46" name="Rectangle 12"/>
          <p:cNvSpPr/>
          <p:nvPr/>
        </p:nvSpPr>
        <p:spPr>
          <a:xfrm>
            <a:off x="3494476" y="2821576"/>
            <a:ext cx="1806049" cy="240185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rgbClr val="92D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eaLnBrk="1" hangingPunct="1"/>
            <a:endParaRPr lang="ru-RU" sz="1039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7" name="Chevron 65"/>
          <p:cNvSpPr/>
          <p:nvPr/>
        </p:nvSpPr>
        <p:spPr>
          <a:xfrm>
            <a:off x="3500477" y="1914051"/>
            <a:ext cx="1971053" cy="810022"/>
          </a:xfrm>
          <a:prstGeom prst="chevron">
            <a:avLst>
              <a:gd name="adj" fmla="val 31973"/>
            </a:avLst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lIns="54006" tIns="54006" rIns="54006" bIns="54006" anchor="ctr"/>
          <a:lstStyle>
            <a:lvl1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ts val="449"/>
              </a:spcAft>
              <a:buClr>
                <a:srgbClr val="C00000"/>
              </a:buClr>
            </a:pPr>
            <a:r>
              <a:rPr lang="ru-RU" sz="1134">
                <a:solidFill>
                  <a:srgbClr val="606060"/>
                </a:solidFill>
              </a:rPr>
              <a:t>Контрактация</a:t>
            </a:r>
          </a:p>
        </p:txBody>
      </p:sp>
      <p:sp>
        <p:nvSpPr>
          <p:cNvPr id="48" name="Rectangle 122"/>
          <p:cNvSpPr>
            <a:spLocks noChangeArrowheads="1"/>
          </p:cNvSpPr>
          <p:nvPr/>
        </p:nvSpPr>
        <p:spPr bwMode="auto">
          <a:xfrm>
            <a:off x="3551478" y="2836577"/>
            <a:ext cx="1749047" cy="210788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07963" indent="-207963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Тендерные процедуры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СПАРК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Графики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Проверка на соответствие коммерческой политике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Обеспечение и страхование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Контроль</a:t>
            </a:r>
          </a:p>
        </p:txBody>
      </p:sp>
      <p:sp>
        <p:nvSpPr>
          <p:cNvPr id="49" name="Chevron 67"/>
          <p:cNvSpPr/>
          <p:nvPr/>
        </p:nvSpPr>
        <p:spPr>
          <a:xfrm>
            <a:off x="7477084" y="1914051"/>
            <a:ext cx="2238060" cy="810022"/>
          </a:xfrm>
          <a:prstGeom prst="chevron">
            <a:avLst>
              <a:gd name="adj" fmla="val 31973"/>
            </a:avLst>
          </a:prstGeom>
          <a:solidFill>
            <a:srgbClr val="FC846B"/>
          </a:solidFill>
          <a:ln w="25400" cap="flat" cmpd="sng" algn="ctr">
            <a:noFill/>
            <a:prstDash val="solid"/>
          </a:ln>
          <a:effectLst/>
        </p:spPr>
        <p:txBody>
          <a:bodyPr lIns="54006" tIns="54006" rIns="54006" bIns="54006" anchor="ctr"/>
          <a:lstStyle>
            <a:lvl1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sz="1134">
                <a:solidFill>
                  <a:srgbClr val="606060"/>
                </a:solidFill>
              </a:rPr>
              <a:t>Реакция на отклонения</a:t>
            </a:r>
            <a:endParaRPr lang="ru-RU" sz="113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82952" name="Группа 49"/>
          <p:cNvGrpSpPr>
            <a:grpSpLocks/>
          </p:cNvGrpSpPr>
          <p:nvPr/>
        </p:nvGrpSpPr>
        <p:grpSpPr bwMode="auto">
          <a:xfrm>
            <a:off x="7513084" y="2821576"/>
            <a:ext cx="2046055" cy="2401854"/>
            <a:chOff x="8017765" y="2695988"/>
            <a:chExt cx="2726752" cy="2945148"/>
          </a:xfrm>
        </p:grpSpPr>
        <p:sp>
          <p:nvSpPr>
            <p:cNvPr id="51" name="Rectangle 12"/>
            <p:cNvSpPr/>
            <p:nvPr/>
          </p:nvSpPr>
          <p:spPr>
            <a:xfrm>
              <a:off x="8017765" y="2695988"/>
              <a:ext cx="2710759" cy="2945148"/>
            </a:xfrm>
            <a:prstGeom prst="rect">
              <a:avLst/>
            </a:prstGeom>
            <a:solidFill>
              <a:srgbClr val="FFFFFF">
                <a:lumMod val="95000"/>
                <a:alpha val="70000"/>
              </a:srgbClr>
            </a:solidFill>
            <a:ln w="19050" cap="flat" cmpd="sng" algn="ctr">
              <a:solidFill>
                <a:srgbClr val="FC846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lvl1pPr marL="342900" indent="-34290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 eaLnBrk="1" hangingPunct="1"/>
              <a:endParaRPr lang="ru-RU" sz="1039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" name="Rectangle 122"/>
            <p:cNvSpPr/>
            <p:nvPr/>
          </p:nvSpPr>
          <p:spPr>
            <a:xfrm>
              <a:off x="8023763" y="2717996"/>
              <a:ext cx="2720754" cy="25296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>
              <a:spAutoFit/>
            </a:bodyPr>
            <a:lstStyle>
              <a:lvl1pPr marL="342900" indent="-34290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80988" indent="-280988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44525" indent="-280988" defTabSz="684213"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01725" indent="-280988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558925" indent="-280988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16125" indent="-280988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73325" indent="-280988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2" eaLnBrk="1" hangingPunct="1">
                <a:spcAft>
                  <a:spcPts val="449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ru-RU" sz="1039">
                  <a:solidFill>
                    <a:srgbClr val="606060"/>
                  </a:solidFill>
                </a:rPr>
                <a:t>Письма-напоминания и стоп-листы</a:t>
              </a:r>
            </a:p>
            <a:p>
              <a:pPr lvl="2" eaLnBrk="1" hangingPunct="1">
                <a:spcAft>
                  <a:spcPts val="449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ru-RU" sz="1039">
                  <a:solidFill>
                    <a:srgbClr val="606060"/>
                  </a:solidFill>
                </a:rPr>
                <a:t>Претензионно-исковая работа </a:t>
              </a:r>
            </a:p>
            <a:p>
              <a:pPr lvl="4" eaLnBrk="1" hangingPunct="1">
                <a:spcAft>
                  <a:spcPts val="449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</a:pPr>
              <a:r>
                <a:rPr lang="ru-RU" sz="850">
                  <a:solidFill>
                    <a:srgbClr val="606060"/>
                  </a:solidFill>
                </a:rPr>
                <a:t>уточненный прогноз ДДС</a:t>
              </a:r>
            </a:p>
            <a:p>
              <a:pPr lvl="4" eaLnBrk="1" hangingPunct="1">
                <a:spcAft>
                  <a:spcPts val="449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</a:pPr>
              <a:r>
                <a:rPr lang="ru-RU" sz="850">
                  <a:solidFill>
                    <a:srgbClr val="606060"/>
                  </a:solidFill>
                </a:rPr>
                <a:t>Автоматическое создание претензии</a:t>
              </a:r>
            </a:p>
            <a:p>
              <a:pPr lvl="4" eaLnBrk="1" hangingPunct="1">
                <a:spcAft>
                  <a:spcPts val="449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</a:pPr>
              <a:r>
                <a:rPr lang="ru-RU" sz="850">
                  <a:solidFill>
                    <a:srgbClr val="606060"/>
                  </a:solidFill>
                </a:rPr>
                <a:t>Напоминания о следующих этапах</a:t>
              </a:r>
              <a:r>
                <a:rPr lang="ru-RU" sz="1134">
                  <a:solidFill>
                    <a:srgbClr val="404040"/>
                  </a:solidFill>
                  <a:cs typeface="Arial" panose="020B0604020202020204" pitchFamily="34" charset="0"/>
                </a:rPr>
                <a:t> </a:t>
              </a:r>
              <a:r>
                <a:rPr lang="ru-RU" sz="850">
                  <a:solidFill>
                    <a:srgbClr val="606060"/>
                  </a:solidFill>
                </a:rPr>
                <a:t>урегулирования</a:t>
              </a:r>
            </a:p>
          </p:txBody>
        </p:sp>
      </p:grpSp>
      <p:sp>
        <p:nvSpPr>
          <p:cNvPr id="53" name="Rectangle 12"/>
          <p:cNvSpPr/>
          <p:nvPr/>
        </p:nvSpPr>
        <p:spPr>
          <a:xfrm>
            <a:off x="1784430" y="2821576"/>
            <a:ext cx="1626044" cy="240185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eaLnBrk="1" hangingPunct="1"/>
            <a:endParaRPr lang="ru-RU" sz="1039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4" name="Pentagon 63"/>
          <p:cNvSpPr/>
          <p:nvPr/>
        </p:nvSpPr>
        <p:spPr>
          <a:xfrm>
            <a:off x="1781430" y="1918552"/>
            <a:ext cx="1918551" cy="805521"/>
          </a:xfrm>
          <a:prstGeom prst="homePlate">
            <a:avLst>
              <a:gd name="adj" fmla="val 33853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54006" tIns="54006" rIns="54006" bIns="54006" anchor="ctr"/>
          <a:lstStyle>
            <a:lvl1pPr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sz="1134">
                <a:solidFill>
                  <a:srgbClr val="606060"/>
                </a:solidFill>
              </a:rPr>
              <a:t>Коммерческая политика</a:t>
            </a:r>
            <a:endParaRPr lang="en-US" sz="1134">
              <a:solidFill>
                <a:srgbClr val="606060"/>
              </a:solidFill>
            </a:endParaRPr>
          </a:p>
        </p:txBody>
      </p:sp>
      <p:sp>
        <p:nvSpPr>
          <p:cNvPr id="55" name="Rectangle 122"/>
          <p:cNvSpPr>
            <a:spLocks noChangeArrowheads="1"/>
          </p:cNvSpPr>
          <p:nvPr/>
        </p:nvSpPr>
        <p:spPr bwMode="auto">
          <a:xfrm>
            <a:off x="1790430" y="2836577"/>
            <a:ext cx="1620044" cy="195399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07963" indent="-207963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>
                <a:solidFill>
                  <a:srgbClr val="606060"/>
                </a:solidFill>
              </a:rPr>
              <a:t>Типовые условия взаиморасчетов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>
                <a:solidFill>
                  <a:srgbClr val="606060"/>
                </a:solidFill>
              </a:rPr>
              <a:t>Классификация контрагентов</a:t>
            </a:r>
          </a:p>
          <a:p>
            <a:pPr lvl="1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>
                <a:solidFill>
                  <a:srgbClr val="606060"/>
                </a:solidFill>
              </a:rPr>
              <a:t>Регламентация условий взаиморасчетов и кредитных лимитов от уровней риска и доходности</a:t>
            </a:r>
          </a:p>
        </p:txBody>
      </p:sp>
      <p:sp>
        <p:nvSpPr>
          <p:cNvPr id="57" name="Rectangle 120"/>
          <p:cNvSpPr/>
          <p:nvPr/>
        </p:nvSpPr>
        <p:spPr>
          <a:xfrm>
            <a:off x="5411528" y="2821577"/>
            <a:ext cx="1968053" cy="2304349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marL="342900" indent="-3429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5425" indent="-225425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88963" indent="-225425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2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АРМ Управление отклонениями</a:t>
            </a:r>
          </a:p>
          <a:p>
            <a:pPr lvl="2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Оповещения о ближайших платежах</a:t>
            </a:r>
          </a:p>
          <a:p>
            <a:pPr lvl="2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Контроль в заявках и договорах</a:t>
            </a:r>
          </a:p>
          <a:p>
            <a:pPr lvl="2">
              <a:spcAft>
                <a:spcPts val="449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039" dirty="0">
                <a:solidFill>
                  <a:srgbClr val="606060"/>
                </a:solidFill>
              </a:rPr>
              <a:t>Факторинг </a:t>
            </a:r>
          </a:p>
          <a:p>
            <a:pPr lvl="3">
              <a:spcAft>
                <a:spcPts val="449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850" dirty="0">
                <a:solidFill>
                  <a:srgbClr val="606060"/>
                </a:solidFill>
              </a:rPr>
              <a:t>прогноз ДДС</a:t>
            </a:r>
          </a:p>
          <a:p>
            <a:pPr lvl="3">
              <a:spcAft>
                <a:spcPts val="449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850" dirty="0">
                <a:solidFill>
                  <a:srgbClr val="606060"/>
                </a:solidFill>
              </a:rPr>
              <a:t>Реестры уступленных денежных требований</a:t>
            </a:r>
          </a:p>
          <a:p>
            <a:pPr lvl="3">
              <a:spcAft>
                <a:spcPts val="449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850" dirty="0">
                <a:solidFill>
                  <a:srgbClr val="606060"/>
                </a:solidFill>
              </a:rPr>
              <a:t>Расчет комиссии</a:t>
            </a:r>
            <a:endParaRPr lang="ru-RU" sz="1134" dirty="0">
              <a:solidFill>
                <a:srgbClr val="404040"/>
              </a:solidFill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Управление кредитными риск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071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ализация основных требований законодательства к СВК и УР</a:t>
            </a:r>
          </a:p>
        </p:txBody>
      </p:sp>
      <p:sp>
        <p:nvSpPr>
          <p:cNvPr id="4" name="Объект 3"/>
          <p:cNvSpPr>
            <a:spLocks noGrp="1"/>
          </p:cNvSpPr>
          <p:nvPr/>
        </p:nvSpPr>
        <p:spPr bwMode="auto">
          <a:xfrm>
            <a:off x="1800597" y="1421623"/>
            <a:ext cx="7920038" cy="50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Подсистема «Управления рисками»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 продуктов линейки «1С:Управление холдингом» соответствует основным требованиям приказа ФНС России от 25.05.2021 № ЕД-7-23/518@ и позволяет: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выполнить общие требования, предъявляемые к системе внутреннего контроля и управлению рисками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вести учет рисков и контрольных процедур в соответствии с требованиями ФНС России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формировать и отправлять отчеты, утвержденные ФНС России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анализировать информацию по рискам и СВК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ru-RU" altLang="ru-RU" sz="2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87328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Идентификация, оценка и хэджирование валютных и процентных рисков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34844016"/>
              </p:ext>
            </p:extLst>
          </p:nvPr>
        </p:nvGraphicFramePr>
        <p:xfrm>
          <a:off x="2325376" y="1943943"/>
          <a:ext cx="6582178" cy="4020403"/>
        </p:xfrm>
        <a:graphic>
          <a:graphicData uri="http://schemas.openxmlformats.org/drawingml/2006/table">
            <a:tbl>
              <a:tblPr/>
              <a:tblGrid>
                <a:gridCol w="1720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40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67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301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дентификация </a:t>
                      </a:r>
                      <a:b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оценка</a:t>
                      </a:r>
                    </a:p>
                  </a:txBody>
                  <a:tcPr marL="64793" marR="64793" marT="32398" marB="3239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эджировани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FC6E5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5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ные рис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C6E5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15900" indent="-21590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indent="-21590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есс-тестирование </a:t>
                      </a:r>
                      <a:b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латежном календаре</a:t>
                      </a:r>
                    </a:p>
                    <a:p>
                      <a:pPr marL="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изированные отчеты</a:t>
                      </a:r>
                    </a:p>
                    <a:p>
                      <a:pPr marL="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@R, CF@R</a:t>
                      </a: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15900" marR="0" lvl="0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15900" indent="-21590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215900" indent="-21590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туральное хеджирование</a:t>
                      </a: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вальная оговорка </a:t>
                      </a:r>
                      <a:b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оговорах</a:t>
                      </a: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ный своп</a:t>
                      </a: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ный форвард (поставочный, расчетный)</a:t>
                      </a:r>
                    </a:p>
                    <a:p>
                      <a:pPr marL="215900" marR="0" lvl="0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15900" marR="0" lvl="0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853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ные рис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FC6E5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15900" indent="-21590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indent="-21590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215900" marR="0" lvl="0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есс-тестирование </a:t>
                      </a:r>
                      <a:b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ного портфеля</a:t>
                      </a:r>
                    </a:p>
                    <a:p>
                      <a:pPr marL="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@R, CF@R</a:t>
                      </a:r>
                      <a:endParaRPr kumimoji="0" lang="ru-RU" sz="1200" b="1" i="0" u="none" strike="noStrike" cap="none" normalizeH="0" baseline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15900" indent="-21590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anose="05000000000000000000" pitchFamily="2" charset="2"/>
                        <a:defRPr sz="20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1pPr>
                      <a:lvl2pPr marL="215900" indent="-21590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anose="05000000000000000000" pitchFamily="2" charset="2"/>
                        <a:defRPr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anose="05000000000000000000" pitchFamily="2" charset="2"/>
                        <a:defRPr sz="16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anose="02020603050405020304" pitchFamily="18" charset="0"/>
                        <a:defRPr sz="14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panose="020B0604020202020204" pitchFamily="34" charset="0"/>
                        <a:defRPr sz="1200">
                          <a:solidFill>
                            <a:srgbClr val="5B0917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ный своп</a:t>
                      </a:r>
                    </a:p>
                    <a:p>
                      <a:pPr marL="21590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но-процентный своп</a:t>
                      </a:r>
                    </a:p>
                    <a:p>
                      <a:pPr marL="215900" marR="0" lvl="0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93" marR="64793" marT="32398" marB="32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98343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сновные процессы подсистемы «Управление рисками»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/>
        </p:nvSpPr>
        <p:spPr bwMode="auto">
          <a:xfrm>
            <a:off x="1440656" y="1368425"/>
            <a:ext cx="8640763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Регистрация рисков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Планирование и регистрация контрольных процедур по предупреждению рисков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Планирование реакций на инциденты -  мероприятий для минимизации ущерба от инцидентов реализации рисков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Регистрация инцидентов и реакции на них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Анализ информации о рисках, контрольных процедурах, инцидентах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Заполнение и отправка регламентированной отчетности</a:t>
            </a:r>
            <a:endParaRPr kumimoji="0" lang="ru-RU" altLang="ru-RU" sz="20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8327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Меню подсистемы в 1С:Управление холдингом и 1С:ERP. Управление холдингом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557" y="1439887"/>
            <a:ext cx="9649070" cy="47573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01644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Меню подсистемы в 1С:Налоговый мониторинг Бухгалтерия КОРП МСФО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12" y="1583903"/>
            <a:ext cx="10461106" cy="45366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38819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истрация рисков: основные данные</a:t>
            </a:r>
            <a:endParaRPr lang="ru-RU" dirty="0"/>
          </a:p>
        </p:txBody>
      </p:sp>
      <p:pic>
        <p:nvPicPr>
          <p:cNvPr id="7" name="Рисунок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765" y="1151855"/>
            <a:ext cx="6224588" cy="5218113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авая фигурная скобка 7"/>
          <p:cNvSpPr/>
          <p:nvPr/>
        </p:nvSpPr>
        <p:spPr bwMode="auto">
          <a:xfrm flipH="1">
            <a:off x="3228628" y="3561680"/>
            <a:ext cx="169862" cy="1443038"/>
          </a:xfrm>
          <a:prstGeom prst="rightBrace">
            <a:avLst/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1345853" y="3561680"/>
            <a:ext cx="1800225" cy="2087563"/>
          </a:xfrm>
          <a:prstGeom prst="roundRect">
            <a:avLst/>
          </a:prstGeom>
          <a:solidFill>
            <a:srgbClr val="F9E383">
              <a:lumMod val="60000"/>
              <a:lumOff val="40000"/>
            </a:srgb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Реквизиты рисков, учитываемых в налоговом мониторинге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398490" y="3606130"/>
            <a:ext cx="3394075" cy="215900"/>
          </a:xfrm>
          <a:prstGeom prst="rect">
            <a:avLst/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09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егламентация уровня риска в зависимости от его вероятности и оценки ущерба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328" y="1426252"/>
            <a:ext cx="5933479" cy="4838171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5" name="Скругленная прямоугольная выноска 4"/>
          <p:cNvSpPr/>
          <p:nvPr/>
        </p:nvSpPr>
        <p:spPr bwMode="auto">
          <a:xfrm>
            <a:off x="6913165" y="1727919"/>
            <a:ext cx="3600400" cy="1728192"/>
          </a:xfrm>
          <a:prstGeom prst="wedgeRoundRectCallout">
            <a:avLst>
              <a:gd name="adj1" fmla="val -113391"/>
              <a:gd name="adj2" fmla="val 67421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анель налоговых контролей может настраиваться при внедрении без изменения типовой конфигураци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7181" y="1943943"/>
            <a:ext cx="3250332" cy="1345637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6" name="Прямоугольник 5"/>
          <p:cNvSpPr/>
          <p:nvPr/>
        </p:nvSpPr>
        <p:spPr bwMode="auto">
          <a:xfrm>
            <a:off x="809327" y="3888159"/>
            <a:ext cx="5933479" cy="1656184"/>
          </a:xfrm>
          <a:prstGeom prst="rect">
            <a:avLst/>
          </a:prstGeom>
          <a:noFill/>
          <a:ln w="28575">
            <a:solidFill>
              <a:srgbClr val="BA3A3B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5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Скругленная прямоугольная выноска 7"/>
          <p:cNvSpPr/>
          <p:nvPr/>
        </p:nvSpPr>
        <p:spPr bwMode="auto">
          <a:xfrm>
            <a:off x="6913165" y="3520356"/>
            <a:ext cx="4464979" cy="2887441"/>
          </a:xfrm>
          <a:prstGeom prst="wedgeRoundRectCallout">
            <a:avLst>
              <a:gd name="adj1" fmla="val -69098"/>
              <a:gd name="adj2" fmla="val -3384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анель налоговых контролей может настраиваться при внедрении без изменения типовой конфигураци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8310" y="3672135"/>
            <a:ext cx="4001319" cy="255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211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9731A046-F01E-489C-9505-35C076B74223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64CA2CBB-2ED5-495B-9C53-C423713E49C6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B528353-BE67-4454-8AF4-131AC67AC326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D3779D9C-2286-42E9-AE2D-79F6B935236F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64425A3-9686-4A78-9DF9-1517B0559B21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49163328-4CF0-4CAE-9C0E-37B6B1EF0B77}"/>
    </a:ext>
  </a:extLst>
</a:theme>
</file>

<file path=ppt/theme/theme7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3_Специальное оформление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2.xml><?xml version="1.0" encoding="utf-8"?>
<a:themeOverride xmlns:a="http://schemas.openxmlformats.org/drawingml/2006/main">
  <a:clrScheme name="3_Специальное оформление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3.xml><?xml version="1.0" encoding="utf-8"?>
<a:themeOverride xmlns:a="http://schemas.openxmlformats.org/drawingml/2006/main">
  <a:clrScheme name="3_Специальное оформление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Шаблон2021</Template>
  <TotalTime>69633</TotalTime>
  <Words>1843</Words>
  <Application>Microsoft Office PowerPoint</Application>
  <PresentationFormat>Произвольный</PresentationFormat>
  <Paragraphs>240</Paragraphs>
  <Slides>41</Slides>
  <Notes>3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1</vt:i4>
      </vt:variant>
    </vt:vector>
  </HeadingPairs>
  <TitlesOfParts>
    <vt:vector size="54" baseType="lpstr">
      <vt:lpstr>Proxima Nova Lt</vt:lpstr>
      <vt:lpstr>Arial</vt:lpstr>
      <vt:lpstr>Futura PT Demi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1_1409_Шаблон</vt:lpstr>
      <vt:lpstr>think-cell Slide</vt:lpstr>
      <vt:lpstr>Автоматизация системы внутреннего контроля и управления рисками  с учетом требований ФНС России для налогового мониторинга</vt:lpstr>
      <vt:lpstr>Внутренний контроль и управление налоговыми рисками</vt:lpstr>
      <vt:lpstr>Изменения законодательства в части Системы Внутреннего контроля и управления рисками</vt:lpstr>
      <vt:lpstr>Реализация основных требований законодательства к СВК и УР</vt:lpstr>
      <vt:lpstr>Основные процессы подсистемы «Управление рисками»</vt:lpstr>
      <vt:lpstr>Меню подсистемы в 1С:Управление холдингом и 1С:ERP. Управление холдингом</vt:lpstr>
      <vt:lpstr>Меню подсистемы в 1С:Налоговый мониторинг Бухгалтерия КОРП МСФО</vt:lpstr>
      <vt:lpstr>Регистрация рисков: основные данные</vt:lpstr>
      <vt:lpstr>Регламентация уровня риска в зависимости от его вероятности и оценки ущерба</vt:lpstr>
      <vt:lpstr>Регистрация рисков: причины и последствия</vt:lpstr>
      <vt:lpstr>Регистрация контрольных процедур</vt:lpstr>
      <vt:lpstr>Регистрация контрольных процедур: шаблоны и экземпляры мероприятий</vt:lpstr>
      <vt:lpstr>Регистрация контрольных процедур: автоматизированные контрольные процедуры</vt:lpstr>
      <vt:lpstr>Регистрация контрольных процедур: шаблон мероприятия</vt:lpstr>
      <vt:lpstr>Справочник «Информационные системы»</vt:lpstr>
      <vt:lpstr>Регистрация контрольных процедур по шаблону</vt:lpstr>
      <vt:lpstr>Регистрация контрольных процедур</vt:lpstr>
      <vt:lpstr>Регистрация контрольных процедур</vt:lpstr>
      <vt:lpstr>Регистрация контрольных процедур</vt:lpstr>
      <vt:lpstr>Регистрация контрольных процедур</vt:lpstr>
      <vt:lpstr>Маршруты согласования</vt:lpstr>
      <vt:lpstr>Регистрация инцидентов</vt:lpstr>
      <vt:lpstr>Регистрация инцидентов: реакция на риск</vt:lpstr>
      <vt:lpstr>Уведомления по СВК и УР</vt:lpstr>
      <vt:lpstr>Отчёты по СВК и УР</vt:lpstr>
      <vt:lpstr>Функциональные контроли</vt:lpstr>
      <vt:lpstr>Корректность полноты и непротиворечивости вводимых данных (несколько тысяч контролей)</vt:lpstr>
      <vt:lpstr>Контроли в расчетах по правилам Налогового Кодекса (несколько тысяч контролей)</vt:lpstr>
      <vt:lpstr>Контрольные соотношения налоговых деклараций (2000+ соотношений)</vt:lpstr>
      <vt:lpstr>Возможность сравнения первичной и уточненной налоговых деклараций</vt:lpstr>
      <vt:lpstr>Наглядная расшифровка показателей налоговых деклараций</vt:lpstr>
      <vt:lpstr>Оценка налоговых рисков при помощи индикаторов BEPS</vt:lpstr>
      <vt:lpstr>Закрытие периода</vt:lpstr>
      <vt:lpstr>Справки-расчеты</vt:lpstr>
      <vt:lpstr>Экспресс-проверка ведения учета</vt:lpstr>
      <vt:lpstr>Проверка по ЕГРН</vt:lpstr>
      <vt:lpstr>1С:Контрагент - сервис по контролю и анализу рисков</vt:lpstr>
      <vt:lpstr>Оценка контрагентов с использованием 1СПАРК Риски</vt:lpstr>
      <vt:lpstr>Управление кредитными рисками</vt:lpstr>
      <vt:lpstr>Идентификация, оценка и хэджирование валютных и процентных рисков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лачатов Алексей Викторович</dc:creator>
  <cp:lastModifiedBy>Станислав Митрохин</cp:lastModifiedBy>
  <cp:revision>129</cp:revision>
  <cp:lastPrinted>2021-10-29T12:35:03Z</cp:lastPrinted>
  <dcterms:created xsi:type="dcterms:W3CDTF">2021-02-09T09:39:16Z</dcterms:created>
  <dcterms:modified xsi:type="dcterms:W3CDTF">2025-12-11T14:51:27Z</dcterms:modified>
</cp:coreProperties>
</file>